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jpeg" ContentType="image/jpeg"/>
  <Default Extension="jpg" ContentType="image/jpg"/>
  <Default Extension="svg" ContentType="image/svg+xml"/>
  <Default Extension="png" ContentType="image/png"/>
  <Default Extension="gif" ContentType="image/gif"/>
  <Default Extension="m4v" ContentType="video/mp4"/>
  <Default Extension="mp4" ContentType="video/mp4"/>
  <Default Extension="vml" ContentType="application/vnd.openxmlformats-officedocument.vmlDrawing"/>
  <Default Extension="xlsx" ContentType="application/vnd.openxmlformats-officedocument.spreadsheetml.sheet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embeddings/Microsoft_Excel_Worksheet1.xlsx" ContentType="application/vnd.openxmlformats-officedocument.spreadsheetml.sheet"/>
  <Override PartName="/ppt/embeddings/Microsoft_Excel_Worksheet2.xlsx" ContentType="application/vnd.openxmlformats-officedocument.spreadsheetml.sheet"/>
  <Override PartName="/ppt/embeddings/Microsoft_Excel_Worksheet3.xlsx" ContentType="application/vnd.openxmlformats-officedocument.spreadsheetml.shee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
		<Relationship Id="rId1" Type="http://schemas.openxmlformats.org/officeDocument/2006/relationships/extended-properties" Target="docProps/app.xml"/>
		<Relationship Id="rId2" Type="http://schemas.openxmlformats.org/package/2006/relationships/metadata/core-properties" Target="docProps/core.xml"/>
		<Relationship Id="rId3" Type="http://schemas.openxmlformats.org/officeDocument/2006/relationships/officeDocument" Target="ppt/presentation.xml"/>
		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</p:sldIdLst>
  <p:notesMasterIdLst>
    <p:notesMasterId r:id="rId34"/>
  </p:notesMasterIdLst>
  <p:sldSz cx="12191970" cy="6858000"/>
  <p:notesSz cx="6858000" cy="12191970"/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C57FE"/>
    <a:srgbClr val="558ED5"/>
    <a:srgbClr val="D3E5FF"/>
    <a:srgbClr val="011AB7"/>
    <a:srgbClr val="007FFF"/>
    <a:srgbClr val="9BC9FF"/>
    <a:srgbClr val="E5EFDE"/>
    <a:srgbClr val="CCE5FF"/>
    <a:srgbClr val="D6D7D9"/>
    <a:srgbClr val="8EC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DA37D80-6434-44D0-A028-1B22A696006F}" styleName="Light Style 3 –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42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notesMaster" Target="notesMasters/notesMaster1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harts/_rels/chart1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roundedCorners val="1"/>
  <c:chart>
    <c:title>
      <c:tx>
        <c:rich>
          <a:bodyPr/>
          <a:lstStyle/>
          <a:p>
            <a:pPr>
              <a:defRPr sz="1400" b="0" i="0" u="none" strike="noStrike">
                <a:solidFill>
                  <a:srgbClr val="000000"/>
                </a:solidFill>
                <a:latin typeface="Segoe UI"/>
              </a:defRPr>
            </a:pPr>
            <a:r>
              <a:rPr sz="1400" b="0" i="0" u="none" strike="noStrike">
                <a:solidFill>
                  <a:srgbClr val="000000"/>
                </a:solidFill>
                <a:latin typeface="Segoe UI"/>
              </a:rPr>
              <a:t>Market Data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mand (GW)</c:v>
                </c:pt>
              </c:strCache>
            </c:strRef>
          </c:tx>
          <c:spPr>
            <a:solidFill>
              <a:srgbClr val="C0504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2</c:v>
                </c:pt>
                <c:pt idx="1">
                  <c:v>46</c:v>
                </c:pt>
                <c:pt idx="2">
                  <c:v>50</c:v>
                </c:pt>
                <c:pt idx="3">
                  <c:v>55</c:v>
                </c:pt>
                <c:pt idx="4">
                  <c:v>60</c:v>
                </c:pt>
                <c:pt idx="5">
                  <c:v>9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acity (GW)</c:v>
                </c:pt>
              </c:strCache>
            </c:strRef>
          </c:tx>
          <c:spPr>
            <a:solidFill>
              <a:srgbClr val="4F81B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60</c:v>
                </c:pt>
                <c:pt idx="1">
                  <c:v>65</c:v>
                </c:pt>
                <c:pt idx="2">
                  <c:v>70</c:v>
                </c:pt>
                <c:pt idx="3">
                  <c:v>75</c:v>
                </c:pt>
                <c:pt idx="4">
                  <c:v>80</c:v>
                </c:pt>
                <c:pt idx="5">
                  <c:v>130</c:v>
                </c:pt>
              </c:numCache>
            </c:numRef>
          </c:val>
        </c:ser>
        <c:dLbls>
          <c:numFmt formatCode="#,##0" sourceLinked="0"/>
          <c:txPr>
            <a:bodyPr/>
            <a:lstStyle/>
            <a:p>
              <a:pPr>
                <a:defRPr b="0" i="0" strike="noStrike" sz="1000" u="none">
                  <a:solidFill>
                    <a:srgbClr val="FFFFFF"/>
                  </a:solidFill>
                  <a:latin typeface="Segoe UI"/>
                </a:defRPr>
              </a:pPr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gapWidth val="50"/>
        <c:overlap val="100"/>
        <c:axId val="2094734554"/>
        <c:axId val="2094734552"/>
        <c:axId val="2094734556"/>
      </c:barChart>
      <c:catAx>
        <c:axId val="209473455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2"/>
        <c:crosses val="autoZero"/>
        <c:auto val="1"/>
        <c:lblAlgn val="ctr"/>
        <c:noMultiLvlLbl val="1"/>
      </c:catAx>
      <c:valAx>
        <c:axId val="2094734552"/>
        <c:scaling>
          <c:orientation val="minMax"/>
        </c:scaling>
        <c:delete val="0"/>
        <c:axPos val="l"/>
        <c:majorGridlines>
          <c:spPr>
            <a:ln w="12700" cap="flat">
              <a:solidFill>
                <a:srgbClr val="888888"/>
              </a:solidFill>
              <a:prstDash val="solid"/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</c:legend>
    <c:plotVisOnly val="1"/>
    <c:dispBlanksAs val="span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roundedCorners val="1"/>
  <c:chart>
    <c:title>
      <c:tx>
        <c:rich>
          <a:bodyPr/>
          <a:lstStyle/>
          <a:p>
            <a:pPr>
              <a:defRPr sz="1400" b="0" i="0" u="none" strike="noStrike">
                <a:solidFill>
                  <a:srgbClr val="000000"/>
                </a:solidFill>
                <a:latin typeface="Segoe UI"/>
              </a:defRPr>
            </a:pPr>
            <a:r>
              <a:rPr sz="1400" b="0" i="0" u="none" strike="noStrike">
                <a:solidFill>
                  <a:srgbClr val="000000"/>
                </a:solidFill>
                <a:latin typeface="Segoe UI"/>
              </a:rPr>
              <a:t>Market Data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C0504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7</c:v>
                </c:pt>
                <c:pt idx="1">
                  <c:v>48</c:v>
                </c:pt>
                <c:pt idx="2">
                  <c:v>49</c:v>
                </c:pt>
                <c:pt idx="3">
                  <c:v>48</c:v>
                </c:pt>
                <c:pt idx="4">
                  <c:v>47</c:v>
                </c:pt>
                <c:pt idx="5">
                  <c:v>3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il</c:v>
                </c:pt>
              </c:strCache>
            </c:strRef>
          </c:tx>
          <c:spPr>
            <a:solidFill>
              <a:srgbClr val="4F81B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5</c:v>
                </c:pt>
                <c:pt idx="1">
                  <c:v>24</c:v>
                </c:pt>
                <c:pt idx="2">
                  <c:v>23</c:v>
                </c:pt>
                <c:pt idx="3">
                  <c:v>22</c:v>
                </c:pt>
                <c:pt idx="4">
                  <c:v>21</c:v>
                </c:pt>
                <c:pt idx="5">
                  <c:v>1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atural Gas</c:v>
                </c:pt>
              </c:strCache>
            </c:strRef>
          </c:tx>
          <c:spPr>
            <a:solidFill>
              <a:srgbClr val="9BBB59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2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8064A2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10</c:v>
                </c:pt>
                <c:pt idx="1">
                  <c:v>9</c:v>
                </c:pt>
                <c:pt idx="2">
                  <c:v>8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s</c:v>
                </c:pt>
              </c:strCache>
            </c:strRef>
          </c:tx>
          <c:spPr>
            <a:solidFill>
              <a:srgbClr val="4BACC6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30P</c:v>
                  </c:pt>
                </c:lvl>
              </c:multiLvlStrCache>
            </c:multiLvl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7</c:v>
                </c:pt>
                <c:pt idx="5">
                  <c:v>15</c:v>
                </c:pt>
              </c:numCache>
            </c:numRef>
          </c:val>
        </c:ser>
        <c:dLbls>
          <c:numFmt formatCode="#,##0" sourceLinked="0"/>
          <c:txPr>
            <a:bodyPr/>
            <a:lstStyle/>
            <a:p>
              <a:pPr>
                <a:defRPr b="0" i="0" strike="noStrike" sz="1000" u="none">
                  <a:solidFill>
                    <a:srgbClr val="FFFFFF"/>
                  </a:solidFill>
                  <a:latin typeface="Segoe UI"/>
                </a:defRPr>
              </a:pPr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gapWidth val="50"/>
        <c:overlap val="100"/>
        <c:axId val="2094734554"/>
        <c:axId val="2094734552"/>
        <c:axId val="2094734556"/>
      </c:barChart>
      <c:catAx>
        <c:axId val="209473455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2"/>
        <c:crosses val="autoZero"/>
        <c:auto val="1"/>
        <c:lblAlgn val="ctr"/>
        <c:noMultiLvlLbl val="1"/>
      </c:catAx>
      <c:valAx>
        <c:axId val="2094734552"/>
        <c:scaling>
          <c:orientation val="minMax"/>
        </c:scaling>
        <c:delete val="0"/>
        <c:axPos val="l"/>
        <c:majorGridlines>
          <c:spPr>
            <a:ln w="12700" cap="flat">
              <a:solidFill>
                <a:srgbClr val="888888"/>
              </a:solidFill>
              <a:prstDash val="solid"/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</c:legend>
    <c:plotVisOnly val="1"/>
    <c:dispBlanksAs val="span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roundedCorners val="1"/>
  <c:chart>
    <c:title>
      <c:tx>
        <c:rich>
          <a:bodyPr/>
          <a:lstStyle/>
          <a:p>
            <a:pPr>
              <a:defRPr sz="1400" b="0" i="0" u="none" strike="noStrike">
                <a:solidFill>
                  <a:srgbClr val="000000"/>
                </a:solidFill>
                <a:latin typeface="Segoe UI"/>
              </a:defRPr>
            </a:pPr>
            <a:r>
              <a:rPr sz="1400" b="0" i="0" u="none" strike="noStrike">
                <a:solidFill>
                  <a:srgbClr val="000000"/>
                </a:solidFill>
                <a:latin typeface="Segoe UI"/>
              </a:rPr>
              <a:t>Market Data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ustrial Tariff (US c/kWh)</c:v>
                </c:pt>
              </c:strCache>
            </c:strRef>
          </c:tx>
          <c:spPr>
            <a:solidFill>
              <a:srgbClr val="C0504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25P</c:v>
                  </c:pt>
                </c:lvl>
              </c:multiLvlStrCache>
            </c:multiLvl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.4</c:v>
                </c:pt>
                <c:pt idx="1">
                  <c:v>6.6</c:v>
                </c:pt>
                <c:pt idx="2">
                  <c:v>6.8</c:v>
                </c:pt>
                <c:pt idx="3">
                  <c:v>7</c:v>
                </c:pt>
                <c:pt idx="4">
                  <c:v>7.2</c:v>
                </c:pt>
                <c:pt idx="5">
                  <c:v>7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NG Import Parity ($/MMBtu)</c:v>
                </c:pt>
              </c:strCache>
            </c:strRef>
          </c:tx>
          <c:spPr>
            <a:solidFill>
              <a:srgbClr val="4F81BD"/>
            </a:solidFill>
            <a:effectLst/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0" i="0" strike="noStrike" sz="1000" u="none">
                    <a:solidFill>
                      <a:srgbClr val="FFFFFF"/>
                    </a:solidFill>
                    <a:latin typeface="Segoe UI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1!$A$2:$A$7</c:f>
              <c:multiLvlStrCache>
                <c:ptCount val="6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3</c:v>
                  </c:pt>
                  <c:pt idx="4">
                    <c:v>2024</c:v>
                  </c:pt>
                  <c:pt idx="5">
                    <c:v>2025P</c:v>
                  </c:pt>
                </c:lvl>
              </c:multiLvlStrCache>
            </c:multiLvl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8.2</c:v>
                </c:pt>
                <c:pt idx="1">
                  <c:v>8.7</c:v>
                </c:pt>
                <c:pt idx="2">
                  <c:v>9.3</c:v>
                </c:pt>
                <c:pt idx="3">
                  <c:v>10.1</c:v>
                </c:pt>
                <c:pt idx="4">
                  <c:v>10.8</c:v>
                </c:pt>
                <c:pt idx="5">
                  <c:v>11</c:v>
                </c:pt>
              </c:numCache>
            </c:numRef>
          </c:val>
        </c:ser>
        <c:dLbls>
          <c:numFmt formatCode="#,##0" sourceLinked="0"/>
          <c:txPr>
            <a:bodyPr/>
            <a:lstStyle/>
            <a:p>
              <a:pPr>
                <a:defRPr b="0" i="0" strike="noStrike" sz="1000" u="none">
                  <a:solidFill>
                    <a:srgbClr val="FFFFFF"/>
                  </a:solidFill>
                  <a:latin typeface="Segoe UI"/>
                </a:defRPr>
              </a:pPr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gapWidth val="50"/>
        <c:overlap val="100"/>
        <c:axId val="2094734554"/>
        <c:axId val="2094734552"/>
        <c:axId val="2094734556"/>
      </c:barChart>
      <c:catAx>
        <c:axId val="209473455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2"/>
        <c:crosses val="autoZero"/>
        <c:auto val="1"/>
        <c:lblAlgn val="ctr"/>
        <c:noMultiLvlLbl val="1"/>
      </c:catAx>
      <c:valAx>
        <c:axId val="2094734552"/>
        <c:scaling>
          <c:orientation val="minMax"/>
        </c:scaling>
        <c:delete val="0"/>
        <c:axPos val="l"/>
        <c:majorGridlines>
          <c:spPr>
            <a:ln w="12700" cap="flat">
              <a:solidFill>
                <a:srgbClr val="888888"/>
              </a:solidFill>
              <a:prstDash val="solid"/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 cap="flat">
            <a:solidFill>
              <a:srgbClr val="D6D7D9"/>
            </a:solidFill>
            <a:prstDash val="solid"/>
            <a:round/>
          </a:ln>
        </c:spPr>
        <c:txPr>
          <a:bodyPr/>
          <a:lstStyle/>
          <a:p>
            <a:pPr>
              <a:defRPr sz="1200" b="0" i="0" u="none" strike="noStrike">
                <a:solidFill>
                  <a:srgbClr val="000000"/>
                </a:solidFill>
                <a:latin typeface="Segoe UI"/>
              </a:defRPr>
            </a:pPr>
            <a:endParaRPr lang="en-US"/>
          </a:p>
        </c:txPr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</c:legend>
    <c:plotVisOnly val="1"/>
    <c:dispBlanksAs val="span"/>
  </c:chart>
  <c:spPr>
    <a:noFill/>
    <a:ln>
      <a:noFill/>
    </a:ln>
    <a:effectLst/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13420" cy="517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69731" y="1"/>
            <a:ext cx="3113420" cy="517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F9A0B1-50B0-48D0-B1FD-F23FDD0E25FC}" type="datetimeFigureOut">
              <a:rPr kumimoji="1" lang="ja-JP" altLang="en-US" smtClean="0"/>
              <a:pPr/>
              <a:t>2026/2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76288"/>
            <a:ext cx="6907212" cy="3886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8483" y="4920825"/>
            <a:ext cx="5747850" cy="466183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839850"/>
            <a:ext cx="3113420" cy="517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69731" y="9839850"/>
            <a:ext cx="3113420" cy="517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264638-DA09-4F05-9D40-370968A24369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39353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4.xml"/>
		</Relationships>
</file>

<file path=ppt/notesSlides/_rels/notesSlide25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5.xml"/>
		</Relationships>
</file>

<file path=ppt/notesSlides/_rels/notesSlide26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6.xml"/>
		</Relationships>
</file>

<file path=ppt/notesSlides/_rels/notesSlide27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7.xml"/>
		</Relationships>
</file>

<file path=ppt/notesSlides/_rels/notesSlide28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8.xml"/>
		</Relationships>
</file>

<file path=ppt/notesSlides/_rels/notesSlide29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29.xml"/>
		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30.xml"/>
		</Relationships>
</file>

<file path=ppt/notesSlides/_rels/notesSlide31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31.xml"/>
		</Relationships>
</file>

<file path=ppt/notesSlides/_rels/notesSlide32.xml.rels><?xml version="1.0" encoding="UTF-8" standalone="yes"?>
		<Relationships xmlns="http://schemas.openxmlformats.org/package/2006/relationships">
			<Relationship Id="rId1" Type="http://schemas.openxmlformats.org/officeDocument/2006/relationships/notesMaster" Target="../notesMasters/notesMaster1.xml"/>
			<Relationship Id="rId2" Type="http://schemas.openxmlformats.org/officeDocument/2006/relationships/slide" Target="../slides/slide32.xml"/>
		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77288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C279D-7E3F-643A-FA55-A0D521DB2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55E73C-D927-31ED-2E64-8E1CCD65E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5C1BB3-7528-761F-2C05-BF9FF1DEEB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F9A9A-B486-C5BD-EA99-0989D0870A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43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CDB1F-622F-6283-A5C1-CC8067BAE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E5CC2C-5B21-E3FB-32E5-9EE256DF57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B906D0-83C9-D8CD-69C3-493ECBE8EF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B23EB4-094D-576E-9B86-1EABEB50CA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3675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D59D78-A211-A61A-CD73-2351AD388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67440F-0000-9A37-A10A-F814E1F6B4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3E8432-4341-E0D9-FE34-E6DF3CF329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E53B0B-0D27-E7E5-6E57-B812AB59CC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166218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14392-B2C4-69C2-9310-370A94F31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C29D1A-7536-A30E-535D-63C33D5A8A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F06CA2-7FB5-A501-289D-1E56B79C25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18F2D4-68D1-0A86-B567-85D73695D9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44694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DCAD8-1FD9-FBB9-2CE7-340FCDF505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52B6EF-2F3E-264B-44EC-5027B22697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66E9BC-0C6B-C7E6-C31A-9721C852B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251A1-A13B-23EA-BF79-56B86AA105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21186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469761-BF1D-93B3-2C25-FC335DE62E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5117FC-57D0-E9F9-90E8-40C64CAA88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FCCF05-B2F9-0335-D4D2-BB0CC729DD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5BC07D-6171-55FD-FD18-55AD1CA152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62462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8D33B9-77FF-71B1-45E0-F68981C35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09FE2F-07CA-715D-F825-E225F6393C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B6AC0A-7624-8048-FE2B-3D8F82FD86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922214-2A41-A7D6-CEC1-62596ABF50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60268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C9388F-6A5B-937B-30B4-FAB6EF14D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B148BC-CB53-A52C-2213-63B371CB1F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E6B24A-0C81-3E22-6A03-8A72923E7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52713-7979-9322-CE59-0AC255F259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95872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282ED-F897-C7E4-8C97-8B9FF5001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4C0131-389C-B4BE-5130-D51BCE5D48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8C9A5C-6A66-7680-D4BA-201404A805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D3A4E-32C5-CE0F-0AEE-6B98288FF8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93431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2D3B7-A8D6-71BD-9C8E-0EE3DD301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24C4F4-5278-8454-36BB-C8AE0AB951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EE6167-32AD-F758-821D-6232CCD764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C8569-8913-B540-92F5-92310C8F35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264638-DA09-4F05-9D40-370968A24369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237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E983F-F81C-CEA3-FD70-E03A6DDCC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768416-2226-9FBA-D9C2-3E68F20FF5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F9B9D4-D20B-741C-C9FF-F6FD8CBE0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6613FC-BAF2-383B-FE87-E39F8C728A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3149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0BA82-4827-057E-4F15-7247611A91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42AE52-85C3-4E7C-DBD1-1FDB0E1E04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D22503-FB8E-F57F-F6A5-AADF2E800C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AF056B-8930-9CAB-8584-EBC2F60D1E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264638-DA09-4F05-9D40-370968A24369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7861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42A36A-BD13-CC52-B4B9-7AA4FDFD4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50241F-E4F7-A714-A25B-62E97BDB2C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7A126B-0112-CE42-BBDA-6B61B02F61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F32B5F-FAD1-9032-A797-66FD794858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52163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C28594-0FA8-9027-EF1D-F4D6E5851F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BC1B75-12CA-9922-52F2-199EBE055C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7D0E8D-1D5F-F8D4-1E54-3F825C3C16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526EB2-0DBD-0A0A-318D-7FAC32A313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619028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2C70FE-56FA-8722-2E7B-106E1C982B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82311C-A287-A13C-0A6F-FE1DFD5F8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B1361D-CD0E-D5A4-82DA-97592D9BC4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C95F0-265E-6ECE-1616-0FF8736FE8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3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327177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38280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6CA3B-0D1B-E260-C86C-AAFF8A34F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826111-87FA-590E-23E2-9C1E187436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E4F7EC-D198-18BD-D519-C6EE1B4C0D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FD99D-0A1A-0167-FED5-7EBA64F20E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8042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2D395-C5FA-20D2-C2D5-7AA00D7EC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5F6850-F32F-F7DF-DEBC-E804888473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EC1582-8E82-5F43-ECE9-E1122D07C4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78F7EA-0D10-1584-D9E2-26AF4CB238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8833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562D8-7626-019E-417E-2A198CE5D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305B00-6DEA-DB38-9CE0-C18946D59B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147C0E-8DBA-6EE9-75EC-598574708A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F9C785-6098-904F-48C1-EEF9E4CC6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860070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8A3AA-6E5B-D759-AA93-BDBED508D9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0C9DB7-7332-ED39-F897-5BBE27287B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6233D2-CD37-6CA2-503E-ED457C2334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B8361-0568-187D-765A-808B0108D7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80057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35A23-C0AE-EF35-A507-DB474E086E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523F1A-4694-E282-CB21-8026BD1E0F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27066D-A6CB-E107-1786-FE585B4757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56650D-F429-DC51-C41E-D68306865E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1117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ED53D8-CCD1-61ED-9188-649A03D33A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06D9C5-2BA8-B5CD-A536-B661C63D9B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46435-859F-E34D-1925-2AE78FA5F7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76F3FC-F489-72B0-72F9-262C60F31E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264638-DA09-4F05-9D40-370968A24369}" type="slidenum">
              <a:rPr kumimoji="1" lang="ja-JP" altLang="en-US" smtClean="0"/>
              <a:pPr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56467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889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直線コネクタ 7"/>
          <p:cNvCxnSpPr>
            <a:cxnSpLocks/>
          </p:cNvCxnSpPr>
          <p:nvPr userDrawn="1"/>
        </p:nvCxnSpPr>
        <p:spPr>
          <a:xfrm>
            <a:off x="0" y="933847"/>
            <a:ext cx="12192000" cy="0"/>
          </a:xfrm>
          <a:prstGeom prst="line">
            <a:avLst/>
          </a:prstGeom>
          <a:ln w="57150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/>
          <p:cNvCxnSpPr>
            <a:cxnSpLocks/>
          </p:cNvCxnSpPr>
          <p:nvPr userDrawn="1"/>
        </p:nvCxnSpPr>
        <p:spPr>
          <a:xfrm>
            <a:off x="5" y="1005855"/>
            <a:ext cx="12191995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/>
          <p:cNvCxnSpPr/>
          <p:nvPr userDrawn="1"/>
        </p:nvCxnSpPr>
        <p:spPr>
          <a:xfrm>
            <a:off x="0" y="6620212"/>
            <a:ext cx="12192000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3673" y="44624"/>
            <a:ext cx="11508811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Autofit/>
          </a:bodyPr>
          <a:lstStyle>
            <a:lvl1pPr algn="l">
              <a:defRPr sz="2400"/>
            </a:lvl1pPr>
          </a:lstStyle>
          <a:p>
            <a:pPr lvl="0"/>
            <a:endParaRPr lang="en-US" altLang="ja-JP"/>
          </a:p>
        </p:txBody>
      </p:sp>
      <p:sp>
        <p:nvSpPr>
          <p:cNvPr id="4" name="フッター プレースホルダ 3">
            <a:extLst>
              <a:ext uri="{FF2B5EF4-FFF2-40B4-BE49-F238E27FC236}">
                <a16:creationId xmlns:a16="http://schemas.microsoft.com/office/drawing/2014/main" id="{010D2832-2D82-872D-8E42-53B810C40772}"/>
              </a:ext>
            </a:extLst>
          </p:cNvPr>
          <p:cNvSpPr txBox="1">
            <a:spLocks/>
          </p:cNvSpPr>
          <p:nvPr userDrawn="1"/>
        </p:nvSpPr>
        <p:spPr>
          <a:xfrm>
            <a:off x="3755740" y="6643072"/>
            <a:ext cx="468052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altLang="ja-JP" sz="800" noProof="0">
                <a:latin typeface="+mn-lt"/>
              </a:rPr>
              <a:t>(C) YCP 2026</a:t>
            </a:r>
            <a:r>
              <a:rPr lang="ja-JP" altLang="en-US" sz="800" noProof="0">
                <a:latin typeface="+mn-lt"/>
              </a:rPr>
              <a:t> </a:t>
            </a:r>
            <a:r>
              <a:rPr lang="en-US" altLang="ja-JP" sz="800" noProof="0">
                <a:latin typeface="+mn-lt"/>
              </a:rPr>
              <a:t>all rights reserved</a:t>
            </a:r>
          </a:p>
        </p:txBody>
      </p:sp>
      <p:pic>
        <p:nvPicPr>
          <p:cNvPr id="11" name="図 10" descr="アイコン&#10;&#10;自動的に生成された説明">
            <a:extLst>
              <a:ext uri="{FF2B5EF4-FFF2-40B4-BE49-F238E27FC236}">
                <a16:creationId xmlns:a16="http://schemas.microsoft.com/office/drawing/2014/main" id="{ED842741-939E-3987-A378-45FC01452A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673" y="6674018"/>
            <a:ext cx="432000" cy="15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04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YCP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ray, night sky&#10;&#10;Description automatically generated">
            <a:extLst>
              <a:ext uri="{FF2B5EF4-FFF2-40B4-BE49-F238E27FC236}">
                <a16:creationId xmlns:a16="http://schemas.microsoft.com/office/drawing/2014/main" id="{67B51B18-0834-874D-83AA-CD7DAE77FA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テキスト プレースホルダー 2">
            <a:extLst>
              <a:ext uri="{FF2B5EF4-FFF2-40B4-BE49-F238E27FC236}">
                <a16:creationId xmlns:a16="http://schemas.microsoft.com/office/drawing/2014/main" id="{0DD4923E-C7A8-4CBA-A7CE-99D6C14A64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7783" y="2730675"/>
            <a:ext cx="7491659" cy="1384125"/>
          </a:xfrm>
        </p:spPr>
        <p:txBody>
          <a:bodyPr lIns="0" rIns="0" anchor="ctr" anchorCtr="0">
            <a:noAutofit/>
          </a:bodyPr>
          <a:lstStyle>
            <a:lvl1pPr marL="0" indent="0">
              <a:buNone/>
              <a:defRPr kumimoji="1" lang="ja-JP" altLang="en-US" sz="4401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lvl="0"/>
            <a:r>
              <a:rPr kumimoji="1" lang="en-US" altLang="ja-JP"/>
              <a:t>Divider Title</a:t>
            </a:r>
            <a:endParaRPr kumimoji="1" lang="ja-JP" altLang="en-US"/>
          </a:p>
        </p:txBody>
      </p:sp>
      <p:pic>
        <p:nvPicPr>
          <p:cNvPr id="7" name="Picture 6" descr="A white letters on a black background&#10;&#10;Description automatically generated">
            <a:extLst>
              <a:ext uri="{FF2B5EF4-FFF2-40B4-BE49-F238E27FC236}">
                <a16:creationId xmlns:a16="http://schemas.microsoft.com/office/drawing/2014/main" id="{E282FD82-19EC-BDE8-644B-DC0E16D186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103" y="534711"/>
            <a:ext cx="2228145" cy="794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58380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9" name="オブジェクト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>
            <a:extLst>
              <a:ext uri="{FF2B5EF4-FFF2-40B4-BE49-F238E27FC236}">
                <a16:creationId xmlns:a16="http://schemas.microsoft.com/office/drawing/2014/main" id="{445BB475-98E0-1438-1DC6-422925771FA4}"/>
              </a:ext>
            </a:extLst>
          </p:cNvPr>
          <p:cNvPicPr/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459" y="295204"/>
            <a:ext cx="10414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92709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939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000" b="0" i="0" baseline="0">
              <a:solidFill>
                <a:schemeClr val="tx1"/>
              </a:solidFill>
              <a:latin typeface="Times New Roman" panose="02020603050405020304" pitchFamily="18" charset="0"/>
              <a:ea typeface="HGS明朝B" panose="02020800000000000000" pitchFamily="18" charset="-128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5" name="図 4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62FD2575-34F1-D711-1685-327EEBBCEF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8152" y="2944557"/>
            <a:ext cx="2736000" cy="97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614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58380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9" name="オブジェクト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5">
            <a:extLst>
              <a:ext uri="{FF2B5EF4-FFF2-40B4-BE49-F238E27FC236}">
                <a16:creationId xmlns:a16="http://schemas.microsoft.com/office/drawing/2014/main" id="{5C6D9A77-20ED-44D6-10BF-D1ED701DB9F0}"/>
              </a:ext>
            </a:extLst>
          </p:cNvPr>
          <p:cNvSpPr txBox="1">
            <a:spLocks/>
          </p:cNvSpPr>
          <p:nvPr userDrawn="1"/>
        </p:nvSpPr>
        <p:spPr>
          <a:xfrm>
            <a:off x="9347446" y="6658145"/>
            <a:ext cx="2844555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23" rtl="0" eaLnBrk="1" latinLnBrk="0" hangingPunct="1"/>
            <a:fld id="{1B6CB131-81F5-444E-A2E5-043B608EAE32}" type="slidenum">
              <a:rPr kumimoji="1" lang="ja-JP" alt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rPr>
              <a:pPr marL="0" algn="r" defTabSz="914423" rtl="0" eaLnBrk="1" latinLnBrk="0" hangingPunct="1"/>
              <a:t>‹#›</a:t>
            </a:fld>
            <a:endParaRPr kumimoji="1" lang="ja-JP" altLang="en-US" sz="90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70881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69103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000" b="0" i="0" baseline="0">
              <a:solidFill>
                <a:schemeClr val="tx1"/>
              </a:solidFill>
              <a:latin typeface="Times New Roman" panose="02020603050405020304" pitchFamily="18" charset="0"/>
              <a:ea typeface="HGS明朝B" panose="02020800000000000000" pitchFamily="18" charset="-128"/>
              <a:cs typeface="+mj-cs"/>
              <a:sym typeface="Times New Roman" panose="02020603050405020304" pitchFamily="18" charset="0"/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620212"/>
            <a:ext cx="12192000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スライド番号プレースホルダー 5">
            <a:extLst>
              <a:ext uri="{FF2B5EF4-FFF2-40B4-BE49-F238E27FC236}">
                <a16:creationId xmlns:a16="http://schemas.microsoft.com/office/drawing/2014/main" id="{382D713C-F1C3-2C2F-A21D-84E0B70480C2}"/>
              </a:ext>
            </a:extLst>
          </p:cNvPr>
          <p:cNvSpPr txBox="1">
            <a:spLocks/>
          </p:cNvSpPr>
          <p:nvPr userDrawn="1"/>
        </p:nvSpPr>
        <p:spPr>
          <a:xfrm>
            <a:off x="9347446" y="6658145"/>
            <a:ext cx="2844555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23" rtl="0" eaLnBrk="1" latinLnBrk="0" hangingPunct="1"/>
            <a:fld id="{1B6CB131-81F5-444E-A2E5-043B608EAE32}" type="slidenum">
              <a:rPr kumimoji="1" lang="ja-JP" alt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rPr>
              <a:pPr marL="0" algn="r" defTabSz="914423" rtl="0" eaLnBrk="1" latinLnBrk="0" hangingPunct="1"/>
              <a:t>‹#›</a:t>
            </a:fld>
            <a:endParaRPr kumimoji="1" lang="ja-JP" altLang="en-US" sz="90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Times New Roman" pitchFamily="18" charset="0"/>
            </a:endParaRPr>
          </a:p>
        </p:txBody>
      </p:sp>
      <p:sp>
        <p:nvSpPr>
          <p:cNvPr id="6" name="フッター プレースホルダ 3">
            <a:extLst>
              <a:ext uri="{FF2B5EF4-FFF2-40B4-BE49-F238E27FC236}">
                <a16:creationId xmlns:a16="http://schemas.microsoft.com/office/drawing/2014/main" id="{4689B77D-36E2-1CDD-96A7-DE03397708E3}"/>
              </a:ext>
            </a:extLst>
          </p:cNvPr>
          <p:cNvSpPr txBox="1">
            <a:spLocks/>
          </p:cNvSpPr>
          <p:nvPr userDrawn="1"/>
        </p:nvSpPr>
        <p:spPr>
          <a:xfrm>
            <a:off x="3755740" y="6643072"/>
            <a:ext cx="468052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altLang="ja-JP" sz="800" noProof="0">
                <a:latin typeface="+mn-lt"/>
              </a:rPr>
              <a:t>(C) YCP 2024</a:t>
            </a:r>
            <a:r>
              <a:rPr lang="ja-JP" altLang="en-US" sz="800" noProof="0">
                <a:latin typeface="+mn-lt"/>
              </a:rPr>
              <a:t> </a:t>
            </a:r>
            <a:r>
              <a:rPr lang="en-US" altLang="ja-JP" sz="800" noProof="0">
                <a:latin typeface="+mn-lt"/>
              </a:rPr>
              <a:t>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73042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000" b="0" i="0" baseline="0">
              <a:solidFill>
                <a:schemeClr val="tx1"/>
              </a:solidFill>
              <a:latin typeface="Times New Roman" panose="02020603050405020304" pitchFamily="18" charset="0"/>
              <a:ea typeface="HGS明朝B" panose="02020800000000000000" pitchFamily="18" charset="-128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11687024-D7C4-F045-8867-88AABBCEB7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163513"/>
            <a:ext cx="10496305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Autofit/>
          </a:bodyPr>
          <a:lstStyle>
            <a:lvl1pPr algn="l">
              <a:defRPr sz="2000"/>
            </a:lvl1pPr>
          </a:lstStyle>
          <a:p>
            <a:pPr lvl="0"/>
            <a:r>
              <a:rPr lang="en-US" altLang="ja-JP"/>
              <a:t>Click to edit Master title style</a:t>
            </a:r>
          </a:p>
        </p:txBody>
      </p:sp>
      <p:cxnSp>
        <p:nvCxnSpPr>
          <p:cNvPr id="15" name="直線コネクタ 14"/>
          <p:cNvCxnSpPr/>
          <p:nvPr userDrawn="1"/>
        </p:nvCxnSpPr>
        <p:spPr>
          <a:xfrm>
            <a:off x="0" y="1052736"/>
            <a:ext cx="11039872" cy="0"/>
          </a:xfrm>
          <a:prstGeom prst="line">
            <a:avLst/>
          </a:prstGeom>
          <a:ln w="57150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/>
          <p:cNvCxnSpPr/>
          <p:nvPr userDrawn="1"/>
        </p:nvCxnSpPr>
        <p:spPr>
          <a:xfrm>
            <a:off x="3" y="1124744"/>
            <a:ext cx="10549729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Shunsuke Hayashi\Desktop\Yamato Capital Partners\ロゴ\yamato-rogo-tomei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872" y="-77193"/>
            <a:ext cx="1280281" cy="104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直線コネクタ 20"/>
          <p:cNvCxnSpPr/>
          <p:nvPr userDrawn="1"/>
        </p:nvCxnSpPr>
        <p:spPr>
          <a:xfrm>
            <a:off x="0" y="6620212"/>
            <a:ext cx="12192000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フッター プレースホルダ 3"/>
          <p:cNvSpPr txBox="1">
            <a:spLocks/>
          </p:cNvSpPr>
          <p:nvPr userDrawn="1"/>
        </p:nvSpPr>
        <p:spPr>
          <a:xfrm>
            <a:off x="3215680" y="6643072"/>
            <a:ext cx="576064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altLang="ja-JP" sz="900" noProof="0"/>
              <a:t>(C) YCP </a:t>
            </a:r>
            <a:r>
              <a:rPr lang="en-US" altLang="ja-JP" sz="900" noProof="0" err="1"/>
              <a:t>Solidiance</a:t>
            </a:r>
            <a:r>
              <a:rPr lang="en-US" altLang="ja-JP" sz="900" noProof="0"/>
              <a:t> International B.V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65989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000" b="0" i="0" baseline="0">
              <a:solidFill>
                <a:schemeClr val="tx1"/>
              </a:solidFill>
              <a:latin typeface="Times New Roman" panose="02020603050405020304" pitchFamily="18" charset="0"/>
              <a:ea typeface="HGS明朝B" panose="02020800000000000000" pitchFamily="18" charset="-128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11687024-D7C4-F045-8867-88AABBCEB7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163513"/>
            <a:ext cx="10496305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Autofit/>
          </a:bodyPr>
          <a:lstStyle>
            <a:lvl1pPr algn="l">
              <a:defRPr sz="2000">
                <a:latin typeface="+mj-lt"/>
                <a:ea typeface="HGPMinchoB" panose="02020800000000000000" pitchFamily="18" charset="-128"/>
              </a:defRPr>
            </a:lvl1pPr>
          </a:lstStyle>
          <a:p>
            <a:pPr lvl="0"/>
            <a:r>
              <a:rPr lang="en-US" altLang="ja-JP"/>
              <a:t>Click to edit Master title style</a:t>
            </a:r>
          </a:p>
        </p:txBody>
      </p:sp>
      <p:cxnSp>
        <p:nvCxnSpPr>
          <p:cNvPr id="15" name="直線コネクタ 14"/>
          <p:cNvCxnSpPr/>
          <p:nvPr userDrawn="1"/>
        </p:nvCxnSpPr>
        <p:spPr>
          <a:xfrm>
            <a:off x="0" y="1052736"/>
            <a:ext cx="11039872" cy="0"/>
          </a:xfrm>
          <a:prstGeom prst="line">
            <a:avLst/>
          </a:prstGeom>
          <a:ln w="57150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/>
          <p:cNvCxnSpPr/>
          <p:nvPr userDrawn="1"/>
        </p:nvCxnSpPr>
        <p:spPr>
          <a:xfrm>
            <a:off x="3" y="1124744"/>
            <a:ext cx="10549729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Users\Shunsuke Hayashi\Desktop\Yamato Capital Partners\ロゴ\yamato-rogo-tomei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39872" y="-77193"/>
            <a:ext cx="1280281" cy="104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直線コネクタ 20"/>
          <p:cNvCxnSpPr/>
          <p:nvPr userDrawn="1"/>
        </p:nvCxnSpPr>
        <p:spPr>
          <a:xfrm>
            <a:off x="0" y="6620212"/>
            <a:ext cx="12192000" cy="0"/>
          </a:xfrm>
          <a:prstGeom prst="line">
            <a:avLst/>
          </a:prstGeom>
          <a:ln w="28575">
            <a:solidFill>
              <a:srgbClr val="293F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フッター プレースホルダ 3"/>
          <p:cNvSpPr txBox="1">
            <a:spLocks/>
          </p:cNvSpPr>
          <p:nvPr userDrawn="1"/>
        </p:nvSpPr>
        <p:spPr>
          <a:xfrm>
            <a:off x="3215680" y="6643072"/>
            <a:ext cx="576064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altLang="ja-JP" sz="900" noProof="0">
                <a:latin typeface="+mj-lt"/>
                <a:ea typeface="HGPMinchoB" panose="02020800000000000000" pitchFamily="18" charset="-128"/>
              </a:rPr>
              <a:t>(C) YCP </a:t>
            </a:r>
            <a:r>
              <a:rPr lang="en-US" altLang="ja-JP" sz="900" noProof="0" err="1">
                <a:latin typeface="+mj-lt"/>
                <a:ea typeface="HGPMinchoB" panose="02020800000000000000" pitchFamily="18" charset="-128"/>
              </a:rPr>
              <a:t>Solidiance</a:t>
            </a:r>
            <a:r>
              <a:rPr lang="en-US" altLang="ja-JP" sz="900" noProof="0">
                <a:latin typeface="+mj-lt"/>
                <a:ea typeface="HGPMinchoB" panose="02020800000000000000" pitchFamily="18" charset="-128"/>
              </a:rPr>
              <a:t> International B.V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63923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901777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ー 5"/>
          <p:cNvSpPr txBox="1">
            <a:spLocks/>
          </p:cNvSpPr>
          <p:nvPr userDrawn="1"/>
        </p:nvSpPr>
        <p:spPr>
          <a:xfrm>
            <a:off x="9347446" y="6662180"/>
            <a:ext cx="2844554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00" rtl="0" eaLnBrk="1" latinLnBrk="0" hangingPunct="1"/>
            <a:fld id="{1B6CB131-81F5-444E-A2E5-043B608EAE32}" type="slidenum">
              <a:rPr kumimoji="1" lang="ja-JP" altLang="en-US" sz="1000" kern="120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algn="r" defTabSz="914400" rtl="0" eaLnBrk="1" latinLnBrk="0" hangingPunct="1"/>
              <a:t>‹#›</a:t>
            </a:fld>
            <a:endParaRPr kumimoji="1" lang="ja-JP" altLang="en-US" sz="1000" kern="1200">
              <a:solidFill>
                <a:schemeClr val="tx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48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9" r:id="rId7"/>
    <p:sldLayoutId id="2147484060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38">
          <p15:clr>
            <a:srgbClr val="F26B43"/>
          </p15:clr>
        </p15:guide>
        <p15:guide id="5" orient="horz" pos="3997">
          <p15:clr>
            <a:srgbClr val="F26B43"/>
          </p15:clr>
        </p15:guide>
        <p15:guide id="7" pos="3840">
          <p15:clr>
            <a:srgbClr val="F26B43"/>
          </p15:clr>
        </p15:guide>
        <p15:guide id="8" pos="3952">
          <p15:clr>
            <a:srgbClr val="F26B43"/>
          </p15:clr>
        </p15:guide>
        <p15:guide id="9" pos="37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21" Type="http://schemas.openxmlformats.org/officeDocument/2006/relationships/tags" Target="../tags/tag34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9" Type="http://schemas.openxmlformats.org/officeDocument/2006/relationships/tags" Target="../tags/tag42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66" Type="http://schemas.openxmlformats.org/officeDocument/2006/relationships/tags" Target="../tags/tag79.xml"/><Relationship Id="rId74" Type="http://schemas.openxmlformats.org/officeDocument/2006/relationships/image" Target="../media/image12.emf"/><Relationship Id="rId5" Type="http://schemas.openxmlformats.org/officeDocument/2006/relationships/tags" Target="../tags/tag18.xml"/><Relationship Id="rId61" Type="http://schemas.openxmlformats.org/officeDocument/2006/relationships/tags" Target="../tags/tag74.xml"/><Relationship Id="rId19" Type="http://schemas.openxmlformats.org/officeDocument/2006/relationships/tags" Target="../tags/tag3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notesSlide" Target="../notesSlides/notesSlide10.xml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chart" Target="../charts/chart1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oleObject" Target="../embeddings/oleObject6.bin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Relationship Id="rId34" Type="http://schemas.openxmlformats.org/officeDocument/2006/relationships/tags" Target="../tags/tag47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7" Type="http://schemas.openxmlformats.org/officeDocument/2006/relationships/tags" Target="../tags/tag20.xml"/><Relationship Id="rId7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09.xml"/><Relationship Id="rId21" Type="http://schemas.openxmlformats.org/officeDocument/2006/relationships/tags" Target="../tags/tag104.xml"/><Relationship Id="rId42" Type="http://schemas.openxmlformats.org/officeDocument/2006/relationships/tags" Target="../tags/tag125.xml"/><Relationship Id="rId47" Type="http://schemas.openxmlformats.org/officeDocument/2006/relationships/tags" Target="../tags/tag130.xml"/><Relationship Id="rId63" Type="http://schemas.openxmlformats.org/officeDocument/2006/relationships/tags" Target="../tags/tag146.xml"/><Relationship Id="rId68" Type="http://schemas.openxmlformats.org/officeDocument/2006/relationships/oleObject" Target="../embeddings/oleObject7.bin"/><Relationship Id="rId7" Type="http://schemas.openxmlformats.org/officeDocument/2006/relationships/tags" Target="../tags/tag90.xml"/><Relationship Id="rId71" Type="http://schemas.openxmlformats.org/officeDocument/2006/relationships/chart" Target="../charts/chart2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9" Type="http://schemas.openxmlformats.org/officeDocument/2006/relationships/tags" Target="../tags/tag112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tags" Target="../tags/tag123.xml"/><Relationship Id="rId45" Type="http://schemas.openxmlformats.org/officeDocument/2006/relationships/tags" Target="../tags/tag128.xml"/><Relationship Id="rId53" Type="http://schemas.openxmlformats.org/officeDocument/2006/relationships/tags" Target="../tags/tag136.xml"/><Relationship Id="rId58" Type="http://schemas.openxmlformats.org/officeDocument/2006/relationships/tags" Target="../tags/tag141.xml"/><Relationship Id="rId66" Type="http://schemas.openxmlformats.org/officeDocument/2006/relationships/slideLayout" Target="../slideLayouts/slideLayout1.xml"/><Relationship Id="rId5" Type="http://schemas.openxmlformats.org/officeDocument/2006/relationships/tags" Target="../tags/tag88.xml"/><Relationship Id="rId61" Type="http://schemas.openxmlformats.org/officeDocument/2006/relationships/tags" Target="../tags/tag144.xml"/><Relationship Id="rId19" Type="http://schemas.openxmlformats.org/officeDocument/2006/relationships/tags" Target="../tags/tag10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43" Type="http://schemas.openxmlformats.org/officeDocument/2006/relationships/tags" Target="../tags/tag126.xml"/><Relationship Id="rId48" Type="http://schemas.openxmlformats.org/officeDocument/2006/relationships/tags" Target="../tags/tag131.xml"/><Relationship Id="rId56" Type="http://schemas.openxmlformats.org/officeDocument/2006/relationships/tags" Target="../tags/tag139.xml"/><Relationship Id="rId64" Type="http://schemas.openxmlformats.org/officeDocument/2006/relationships/tags" Target="../tags/tag147.xml"/><Relationship Id="rId69" Type="http://schemas.openxmlformats.org/officeDocument/2006/relationships/image" Target="../media/image12.emf"/><Relationship Id="rId8" Type="http://schemas.openxmlformats.org/officeDocument/2006/relationships/tags" Target="../tags/tag91.xml"/><Relationship Id="rId51" Type="http://schemas.openxmlformats.org/officeDocument/2006/relationships/tags" Target="../tags/tag134.xml"/><Relationship Id="rId72" Type="http://schemas.openxmlformats.org/officeDocument/2006/relationships/image" Target="../media/image13.png"/><Relationship Id="rId3" Type="http://schemas.openxmlformats.org/officeDocument/2006/relationships/tags" Target="../tags/tag86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46" Type="http://schemas.openxmlformats.org/officeDocument/2006/relationships/tags" Target="../tags/tag129.xml"/><Relationship Id="rId59" Type="http://schemas.openxmlformats.org/officeDocument/2006/relationships/tags" Target="../tags/tag142.xml"/><Relationship Id="rId67" Type="http://schemas.openxmlformats.org/officeDocument/2006/relationships/notesSlide" Target="../notesSlides/notesSlide11.xml"/><Relationship Id="rId20" Type="http://schemas.openxmlformats.org/officeDocument/2006/relationships/tags" Target="../tags/tag103.xml"/><Relationship Id="rId41" Type="http://schemas.openxmlformats.org/officeDocument/2006/relationships/tags" Target="../tags/tag124.xml"/><Relationship Id="rId54" Type="http://schemas.openxmlformats.org/officeDocument/2006/relationships/tags" Target="../tags/tag137.xml"/><Relationship Id="rId62" Type="http://schemas.openxmlformats.org/officeDocument/2006/relationships/tags" Target="../tags/tag145.xml"/><Relationship Id="rId70" Type="http://schemas.openxmlformats.org/officeDocument/2006/relationships/chart" Target="../charts/chart3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49" Type="http://schemas.openxmlformats.org/officeDocument/2006/relationships/tags" Target="../tags/tag132.xml"/><Relationship Id="rId57" Type="http://schemas.openxmlformats.org/officeDocument/2006/relationships/tags" Target="../tags/tag140.xml"/><Relationship Id="rId10" Type="http://schemas.openxmlformats.org/officeDocument/2006/relationships/tags" Target="../tags/tag93.xml"/><Relationship Id="rId31" Type="http://schemas.openxmlformats.org/officeDocument/2006/relationships/tags" Target="../tags/tag114.xml"/><Relationship Id="rId44" Type="http://schemas.openxmlformats.org/officeDocument/2006/relationships/tags" Target="../tags/tag127.xml"/><Relationship Id="rId52" Type="http://schemas.openxmlformats.org/officeDocument/2006/relationships/tags" Target="../tags/tag135.xml"/><Relationship Id="rId60" Type="http://schemas.openxmlformats.org/officeDocument/2006/relationships/tags" Target="../tags/tag143.xml"/><Relationship Id="rId65" Type="http://schemas.openxmlformats.org/officeDocument/2006/relationships/tags" Target="../tags/tag148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9" Type="http://schemas.openxmlformats.org/officeDocument/2006/relationships/tags" Target="../tags/tag122.xml"/><Relationship Id="rId34" Type="http://schemas.openxmlformats.org/officeDocument/2006/relationships/tags" Target="../tags/tag117.xml"/><Relationship Id="rId50" Type="http://schemas.openxmlformats.org/officeDocument/2006/relationships/tags" Target="../tags/tag133.xml"/><Relationship Id="rId55" Type="http://schemas.openxmlformats.org/officeDocument/2006/relationships/tags" Target="../tags/tag1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0.xml"/><Relationship Id="rId6" Type="http://schemas.openxmlformats.org/officeDocument/2006/relationships/chart" Target="../charts/chart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6.xml"/><Relationship Id="rId1" Type="http://schemas.openxmlformats.org/officeDocument/2006/relationships/slideLayout" Target="../slideLayouts/slideLayout1.xml"/><Relationship Id="rId4" Type="http://schemas.openxmlformats.org/officeDocument/2006/relationships/slide" Target="slide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slide" Target="slide1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7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slide" Target="slide22.xml"/><Relationship Id="rId5" Type="http://schemas.openxmlformats.org/officeDocument/2006/relationships/slide" Target="slide15.xml"/><Relationship Id="rId4" Type="http://schemas.openxmlformats.org/officeDocument/2006/relationships/slide" Target="slide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2">
            <a:extLst>
              <a:ext uri="{FF2B5EF4-FFF2-40B4-BE49-F238E27FC236}">
                <a16:creationId xmlns:a16="http://schemas.microsoft.com/office/drawing/2014/main" id="{424242F3-F41C-189F-0EB1-3F5DE15E206D}"/>
              </a:ext>
            </a:extLst>
          </p:cNvPr>
          <p:cNvSpPr txBox="1">
            <a:spLocks/>
          </p:cNvSpPr>
          <p:nvPr/>
        </p:nvSpPr>
        <p:spPr>
          <a:xfrm>
            <a:off x="416496" y="1493520"/>
            <a:ext cx="8553400" cy="259226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游ゴシック"/>
                <a:cs typeface="+mn-cs"/>
              </a:rPr>
              <a:t>Shizuoka Gas Compa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altLang="ja-JP">
              <a:solidFill>
                <a:sysClr val="windowText" lastClr="000000"/>
              </a:solidFill>
              <a:latin typeface="Segoe UI"/>
              <a:ea typeface="游ゴシック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游ゴシック"/>
                <a:cs typeface="+mn-cs"/>
              </a:rPr>
              <a:t>Project Escort – Phase 1</a:t>
            </a:r>
          </a:p>
        </p:txBody>
      </p:sp>
      <p:sp>
        <p:nvSpPr>
          <p:cNvPr id="3" name="テキスト プレースホルダー 1">
            <a:extLst>
              <a:ext uri="{FF2B5EF4-FFF2-40B4-BE49-F238E27FC236}">
                <a16:creationId xmlns:a16="http://schemas.microsoft.com/office/drawing/2014/main" id="{38B89B57-4628-1CC3-B7D2-C37FF55D6C04}"/>
              </a:ext>
            </a:extLst>
          </p:cNvPr>
          <p:cNvSpPr txBox="1">
            <a:spLocks/>
          </p:cNvSpPr>
          <p:nvPr/>
        </p:nvSpPr>
        <p:spPr>
          <a:xfrm>
            <a:off x="416496" y="4445821"/>
            <a:ext cx="8553400" cy="1507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>
                <a:solidFill>
                  <a:sysClr val="windowText" lastClr="000000"/>
                </a:solidFill>
                <a:latin typeface="Segoe UI"/>
                <a:ea typeface="游ゴシック"/>
              </a:rPr>
              <a:t>Shizuoka Gas | February 202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1" lang="en-US" altLang="ja-JP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游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>
                <a:solidFill>
                  <a:sysClr val="windowText" lastClr="000000"/>
                </a:solidFill>
                <a:latin typeface="Segoe UI"/>
                <a:ea typeface="游ゴシック"/>
              </a:rPr>
              <a:t>Vietnam Energy Services Entry Strategy - Energy Services Market Selection</a:t>
            </a:r>
            <a:r>
              <a:rPr kumimoji="1" lang="en-US" altLang="ja-JP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游ゴシック"/>
                <a:cs typeface="+mn-cs"/>
              </a:rPr>
              <a:t> 202</a:t>
            </a:r>
            <a:r>
              <a:rPr lang="en-US" altLang="ja-JP">
                <a:solidFill>
                  <a:sysClr val="windowText" lastClr="000000"/>
                </a:solidFill>
                <a:latin typeface="Segoe UI"/>
                <a:ea typeface="游ゴシック"/>
              </a:rPr>
              <a:t>6</a:t>
            </a:r>
            <a:endParaRPr kumimoji="1" lang="en-US" altLang="ja-JP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游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70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99BBF-D4D1-AE01-D941-15A37D037A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3880DF-A94B-D026-613A-1AC02220F7C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7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425" imgH="424" progId="TCLayout.ActiveDocument.1">
                  <p:embed/>
                </p:oleObj>
              </mc:Choice>
              <mc:Fallback>
                <p:oleObj name="think-cell Slide" r:id="rId73" imgW="425" imgH="424" progId="TCLayout.ActiveDocument.1">
                  <p:embed/>
                  <p:pic>
                    <p:nvPicPr>
                      <p:cNvPr id="9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3880DF-A94B-D026-613A-1AC02220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4E9060E-85DA-8B25-6FC9-C95062A97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Vietnam - Market Size &amp; Growth</a:t>
            </a:r>
            <a:b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MY" sz="1600"/>
              <a:t>Demand growth supports near-term entry, but value capture depends on segment focus and partner access.</a:t>
            </a:r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779618-DE16-EE2D-EC7E-ED5D23963B41}"/>
              </a:ext>
            </a:extLst>
          </p:cNvPr>
          <p:cNvSpPr txBox="1"/>
          <p:nvPr/>
        </p:nvSpPr>
        <p:spPr>
          <a:xfrm>
            <a:off x="340272" y="6021585"/>
            <a:ext cx="1151676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ea typeface="Meiryo UI"/>
                <a:cs typeface="Times New Roman" panose="02020603050405020304" pitchFamily="18" charset="0"/>
              </a:rPr>
              <a:t>Source: YCP Analysis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>Key Insight</a:t>
            </a:r>
            <a:endParaRPr lang="en-GB" sz="1000">
              <a:ea typeface="Meiryo UI"/>
              <a:cs typeface="Times New Roman" panose="02020603050405020304" pitchFamily="18" charset="0"/>
            </a:endParaRPr>
          </a:p>
          <a:p>
            <a:r>
              <a:rPr lang="en-GB" sz="1000">
                <a:ea typeface="Meiryo UI"/>
                <a:cs typeface="Times New Roman" panose="02020603050405020304" pitchFamily="18" charset="0"/>
              </a:rPr>
              <a:t>Vietnam energy-services demand is expanding with industrial growth, grid pressure, and decarbonization mandates.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>Market Data</a:t>
            </a:r>
            <a:r>
              <a:rPr lang="en-US" sz="1000" err="1">
                <a:ea typeface="Meiryo UI"/>
                <a:cs typeface="Times New Roman" panose="02020603050405020304" pitchFamily="18" charset="0"/>
              </a:rPr>
              <a:t>Industrial load growth and efficiency requirements.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>Opportunity</a:t>
            </a:r>
            <a:r>
              <a:rPr lang="en-US" sz="1000" err="1">
                <a:ea typeface="Meiryo UI"/>
                <a:cs typeface="Times New Roman" panose="02020603050405020304" pitchFamily="18" charset="0"/>
              </a:rPr>
              <a:t>Policy-backed transition activity and fuel-switch economics.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/>
            </a:r>
          </a:p>
          <a:p>
            <a:r>
              <a:rPr lang="en-US" sz="1000">
                <a:ea typeface="Meiryo UI"/>
                <a:cs typeface="Times New Roman" panose="02020603050405020304" pitchFamily="18" charset="0"/>
              </a:rPr>
              <a:t/>
            </a:r>
            <a:r>
              <a:rPr lang="en-GB" sz="1000">
                <a:ea typeface="Meiryo UI"/>
                <a:cs typeface="Times New Roman" panose="02020603050405020304" pitchFamily="18" charset="0"/>
              </a:rPr>
              <a:t/>
            </a:r>
            <a:endParaRPr lang="en-US" sz="1000">
              <a:ea typeface="Meiryo UI"/>
              <a:cs typeface="Times New Roman" panose="02020603050405020304" pitchFamily="18" charset="0"/>
            </a:endParaRPr>
          </a:p>
        </p:txBody>
      </p:sp>
      <p:grpSp>
        <p:nvGrpSpPr>
          <p:cNvPr id="52" name="グループ化 64">
            <a:extLst>
              <a:ext uri="{FF2B5EF4-FFF2-40B4-BE49-F238E27FC236}">
                <a16:creationId xmlns:a16="http://schemas.microsoft.com/office/drawing/2014/main" id="{167EDE33-606D-BEDD-A013-53A170D5C84F}"/>
              </a:ext>
            </a:extLst>
          </p:cNvPr>
          <p:cNvGrpSpPr/>
          <p:nvPr/>
        </p:nvGrpSpPr>
        <p:grpSpPr>
          <a:xfrm>
            <a:off x="370205" y="1253287"/>
            <a:ext cx="5547995" cy="407556"/>
            <a:chOff x="455612" y="1382529"/>
            <a:chExt cx="4113213" cy="655821"/>
          </a:xfrm>
          <a:noFill/>
        </p:grpSpPr>
        <p:sp>
          <p:nvSpPr>
            <p:cNvPr id="53" name="ColumnHeader">
              <a:extLst>
                <a:ext uri="{FF2B5EF4-FFF2-40B4-BE49-F238E27FC236}">
                  <a16:creationId xmlns:a16="http://schemas.microsoft.com/office/drawing/2014/main" id="{E50DF28A-35D3-558D-D20C-08C8AA43B8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54" name="直線コネクタ 66">
              <a:extLst>
                <a:ext uri="{FF2B5EF4-FFF2-40B4-BE49-F238E27FC236}">
                  <a16:creationId xmlns:a16="http://schemas.microsoft.com/office/drawing/2014/main" id="{41374726-5567-CC75-263B-BE50DFC1F909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グループ化 64">
            <a:extLst>
              <a:ext uri="{FF2B5EF4-FFF2-40B4-BE49-F238E27FC236}">
                <a16:creationId xmlns:a16="http://schemas.microsoft.com/office/drawing/2014/main" id="{062E42BB-A949-F261-5640-23E1305366C2}"/>
              </a:ext>
            </a:extLst>
          </p:cNvPr>
          <p:cNvGrpSpPr/>
          <p:nvPr/>
        </p:nvGrpSpPr>
        <p:grpSpPr>
          <a:xfrm>
            <a:off x="6273800" y="1257615"/>
            <a:ext cx="5547994" cy="407556"/>
            <a:chOff x="455612" y="1382529"/>
            <a:chExt cx="4113213" cy="655821"/>
          </a:xfrm>
          <a:noFill/>
        </p:grpSpPr>
        <p:sp>
          <p:nvSpPr>
            <p:cNvPr id="59" name="ColumnHeader">
              <a:extLst>
                <a:ext uri="{FF2B5EF4-FFF2-40B4-BE49-F238E27FC236}">
                  <a16:creationId xmlns:a16="http://schemas.microsoft.com/office/drawing/2014/main" id="{7411CA24-A024-6207-D2E4-38E4463F18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60" name="直線コネクタ 66">
              <a:extLst>
                <a:ext uri="{FF2B5EF4-FFF2-40B4-BE49-F238E27FC236}">
                  <a16:creationId xmlns:a16="http://schemas.microsoft.com/office/drawing/2014/main" id="{03363F2B-BCD4-D750-FDCE-1B2994BDE4EE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9" name="TextBox 898">
            <a:extLst>
              <a:ext uri="{FF2B5EF4-FFF2-40B4-BE49-F238E27FC236}">
                <a16:creationId xmlns:a16="http://schemas.microsoft.com/office/drawing/2014/main" id="{73CBB8FD-6842-7F05-CF23-CF0C21180221}"/>
              </a:ext>
            </a:extLst>
          </p:cNvPr>
          <p:cNvSpPr txBox="1"/>
          <p:nvPr/>
        </p:nvSpPr>
        <p:spPr>
          <a:xfrm>
            <a:off x="370205" y="1739410"/>
            <a:ext cx="1409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A532750-54EF-AD90-F6DB-8921CC41884B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35025" y="3871913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C734061-9A60-6CD4-8C29-F27A34EE2D7F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35025" y="5127625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482AAD7-17DE-2B6B-EDCB-02404744119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35025" y="4708525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88FB780-B679-EAFA-DB60-ECA54F4D5E1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35025" y="4289425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DF3FDF3-43EB-61D4-947A-F2D1492C37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35025" y="2195513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6EE7769-C5F8-7708-53EA-D937E30398B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35025" y="3452813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282DF95-AABB-72EB-74F3-E7A76EC1501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35025" y="3033713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B42B0D-6A38-EE4F-EA9A-2C088600B0B4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835025" y="2614613"/>
            <a:ext cx="5083175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8F4907A2-F4D5-2E1F-11E9-898674526FF4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5842150"/>
              </p:ext>
            </p:extLst>
          </p:nvPr>
        </p:nvGraphicFramePr>
        <p:xfrm>
          <a:off x="752475" y="2112963"/>
          <a:ext cx="5248275" cy="3516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3C02BD24-9D6D-E729-BB9A-ACD007C71FF0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30213" y="5037138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3618E8-DC83-4A78-AD0E-2F4DDE4290A9}" type="datetime'''''''''''''''''''''''''2''''''.''''''''0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31CDFEA-6870-D908-1F55-282AEC9B25A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30213" y="4618038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37D7A3-035B-46B9-A924-EC463DC0CC31}" type="datetime'''''''''''4''''''''''''''''''.''''0''''''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CC6C255-97BD-E51C-22B0-26E4FFC8941D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30213" y="4198938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4AB80F6-59E7-4D92-89FB-D5EA86EBE5A4}" type="datetime'''''''6''''''''''''''''''''''''.''''''''''''''''0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5215824-7892-7CD6-85D1-DB54BA73375A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30213" y="3781425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7DC7345-594D-4300-B55F-653B589CD422}" type="datetime'8''''''''''''''''''''''''''''''''''''''.''''''''''''''0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1810E1-B75C-3A1F-1C26-88D49C9F96E8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34963" y="3362325"/>
            <a:ext cx="3238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C2E47F1-6737-4CC4-8B6A-2573E25CF99A}" type="datetime'''''1''0''''''''''''''''.''''''''''''''''''0''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88C23C3-23CE-DFFA-2116-1C0184BEE858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34963" y="2943225"/>
            <a:ext cx="3238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2FFD15-9490-4020-9075-6E540512E7F9}" type="datetime'''''''1''2''.''0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896" name="Rectangle 895">
            <a:extLst>
              <a:ext uri="{FF2B5EF4-FFF2-40B4-BE49-F238E27FC236}">
                <a16:creationId xmlns:a16="http://schemas.microsoft.com/office/drawing/2014/main" id="{0DC4D69D-8160-7703-5790-40A45EFF6DD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34963" y="2524125"/>
            <a:ext cx="3238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29244EB-AFB9-4C3F-9C6C-40DD966D177B}" type="datetime'''''''1''''''''4''''''''''.0''''''''''''''''''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897" name="Rectangle 896">
            <a:extLst>
              <a:ext uri="{FF2B5EF4-FFF2-40B4-BE49-F238E27FC236}">
                <a16:creationId xmlns:a16="http://schemas.microsoft.com/office/drawing/2014/main" id="{E67F6104-E8FF-B796-1520-D606F829230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34963" y="2105025"/>
            <a:ext cx="3238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CC0118-A146-4AE3-A71D-69BF1CE79397}" type="datetime'''''''''''''''''''1''''''6.''''''''''''''''''''0'">
              <a:rPr kumimoji="0"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F3EF65-3BC4-75C5-093E-D5CBBBA8AB26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30213" y="5456238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455D30-E434-446E-93FC-D77237D9D55C}" type="datetime'''''''''''0''''.''''''''''''''0''''''''''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883371D-E808-E865-17B2-98A8C83BBEE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white">
          <a:xfrm>
            <a:off x="5353050" y="2908300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F3DAF2C-F84A-B60B-1E1B-0A4F7605F8C3}"/>
              </a:ext>
            </a:extLst>
          </p:cNvPr>
          <p:cNvCxnSpPr/>
          <p:nvPr>
            <p:custDataLst>
              <p:tags r:id="rId21"/>
            </p:custDataLst>
          </p:nvPr>
        </p:nvCxnSpPr>
        <p:spPr bwMode="white">
          <a:xfrm>
            <a:off x="4625975" y="4314825"/>
            <a:ext cx="404813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C87C68-9855-B436-E4B8-DDF5A578BC7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white">
          <a:xfrm>
            <a:off x="3900488" y="5010150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24B9A52-B852-A775-663E-17A7B689C45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white">
          <a:xfrm>
            <a:off x="3173413" y="5318125"/>
            <a:ext cx="404812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F17189F-7076-9DCC-A3BB-9DFE087F44D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white">
          <a:xfrm>
            <a:off x="2447925" y="5353050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F6F63AE-16E1-3EC7-8E4C-6DDEE0DD192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white">
          <a:xfrm>
            <a:off x="1720850" y="5326063"/>
            <a:ext cx="404813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0CF0750-8CCC-C0D2-A07A-7229489FBE6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white">
          <a:xfrm>
            <a:off x="995363" y="5402263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5F06CB-18C2-2D2F-0684-DE00E979A58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1922463" y="5511800"/>
            <a:ext cx="0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4DE51C8-C82B-E994-77C4-14A205557B1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96975" y="5268913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22CCC2C-C2BC-00C4-1C57-C43239B9570A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 flipV="1">
            <a:off x="1196975" y="5541963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F8168DA-0BFD-09E7-DE92-F9D2D2B7408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2649538" y="5514975"/>
            <a:ext cx="0" cy="57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F6EAADF-75AB-4B8D-19FC-18AC7C53778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3375025" y="5518150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CAE3F349-C9B5-B198-CDC4-5F9CD90BB4F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725613" y="582295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0B1FD0-DB2A-4A81-803A-83F8BC76F386}" type="datetime'''''''''20''''''''''''10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8" name="Rectangle 917">
            <a:extLst>
              <a:ext uri="{FF2B5EF4-FFF2-40B4-BE49-F238E27FC236}">
                <a16:creationId xmlns:a16="http://schemas.microsoft.com/office/drawing/2014/main" id="{81397A33-D4AA-7257-B5BE-A6E7EDF9E233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2455863" y="492918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58AEE4-11C3-4B39-A7A0-FF1ABA086211}" type="datetime'''''''''''7''''''7''''''''''''''''''''''''''''''''''''%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9" name="Rectangle 918">
            <a:extLst>
              <a:ext uri="{FF2B5EF4-FFF2-40B4-BE49-F238E27FC236}">
                <a16:creationId xmlns:a16="http://schemas.microsoft.com/office/drawing/2014/main" id="{AA891CC4-E505-802B-FCF0-C281EF4040A8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455863" y="5321300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9FF72F-604B-47A5-81DD-2C4F98C97510}" type="datetime'''''1''''''''''''''''''''''''''''5''%'''''''''''''''''''''">
              <a:rPr kumimoji="0" lang="en-US" altLang="en-US" sz="1400" smtClean="0">
                <a:solidFill>
                  <a:srgbClr val="000000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0D19F6-5E73-6D8D-AB26-6FF2B0F1995D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2503488" y="5572125"/>
            <a:ext cx="2921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A28B36-B331-4DA6-9DCA-F24B8CF946E2}" type="datetime'''''''''''''''''''''''8''''''''''''''''''''''''''''''%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 useBgFill="1">
        <p:nvSpPr>
          <p:cNvPr id="905" name="Rectangle 904">
            <a:extLst>
              <a:ext uri="{FF2B5EF4-FFF2-40B4-BE49-F238E27FC236}">
                <a16:creationId xmlns:a16="http://schemas.microsoft.com/office/drawing/2014/main" id="{34890BA1-F5D0-73D2-9D10-41458BEE8953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003300" y="5076825"/>
            <a:ext cx="387350" cy="19208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71382A-EEFE-49CB-960B-4CD52632EC97}" type="datetime'''4''''''2''''''''%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2D467F-26A1-1FE0-AAE7-F4DFB153C8E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452688" y="582295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98A634-78B2-41FB-9A9E-71B5CDFB8AFE}" type="datetime'''''''''''''''''2''''02''''''''''0''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1" name="Rectangle 920">
            <a:extLst>
              <a:ext uri="{FF2B5EF4-FFF2-40B4-BE49-F238E27FC236}">
                <a16:creationId xmlns:a16="http://schemas.microsoft.com/office/drawing/2014/main" id="{E8CD9FB8-1EA7-B2FF-8EF6-28378CA89A45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181350" y="4889500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9CB96B-BD2D-45C2-B972-C833212E97FF}" type="datetime'''''''7''''''''''''''''''''''''''4''''''''''''''%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3" name="Rectangle 922">
            <a:extLst>
              <a:ext uri="{FF2B5EF4-FFF2-40B4-BE49-F238E27FC236}">
                <a16:creationId xmlns:a16="http://schemas.microsoft.com/office/drawing/2014/main" id="{B8E4EAB7-23C7-5AF4-343D-0E30CEE94BC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181350" y="5308600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5B834C-BE5E-44DC-8EF4-A88BA91521D4}" type="datetime'''''''''''''''1''''''9''%'''''''''''''''''''''''''''''''''''''">
              <a:rPr kumimoji="0" lang="en-US" altLang="en-US" sz="1400" smtClean="0">
                <a:solidFill>
                  <a:srgbClr val="000000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D9B652B-AF6D-D26C-85AC-13BEA2597C34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228975" y="5572125"/>
            <a:ext cx="2921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E4EF2E-D469-4CFA-B630-3E071747DED1}" type="datetime'''''''''''''''''''''6''''%''''''''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3" name="Rectangle 912">
            <a:extLst>
              <a:ext uri="{FF2B5EF4-FFF2-40B4-BE49-F238E27FC236}">
                <a16:creationId xmlns:a16="http://schemas.microsoft.com/office/drawing/2014/main" id="{F951D9C4-793C-C010-E745-E74B6317B5B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1003300" y="5373688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A48F99-90BB-44BC-A68F-9DC123F7A819}" type="datetime'''''''''''''''''''''5''4''''''''%'''''''''''''''''''''''">
              <a:rPr kumimoji="0" lang="en-US" altLang="en-US" sz="1400" smtClean="0">
                <a:solidFill>
                  <a:srgbClr val="000000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A8EED2-8322-48E5-AAAF-58DC1B31B5DB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178175" y="582295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304E58-2EAD-409D-B74A-61C58FB4F965}" type="datetime'''2''''''''''''0''''''2''''3''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6" name="Rectangle 925">
            <a:extLst>
              <a:ext uri="{FF2B5EF4-FFF2-40B4-BE49-F238E27FC236}">
                <a16:creationId xmlns:a16="http://schemas.microsoft.com/office/drawing/2014/main" id="{77701FB2-6C62-91D0-190E-ECDBCA81AF2E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3908425" y="450373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8DE609-431E-49BE-954B-F25B8FD57B62}" type="datetime'''''6''''''''''''''''1''%''''''''''''''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495ED2-3AFB-F6D0-5482-CED4F9EAE830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050925" y="5572125"/>
            <a:ext cx="2921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D57ED1-FD29-4EF3-BBE7-F75832BA4BB1}" type="datetime'4%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7" name="Rectangle 926">
            <a:extLst>
              <a:ext uri="{FF2B5EF4-FFF2-40B4-BE49-F238E27FC236}">
                <a16:creationId xmlns:a16="http://schemas.microsoft.com/office/drawing/2014/main" id="{D020BF7E-4236-151F-1E1B-98F32B8D412D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3908425" y="504666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7B1BFC-B4B3-43DD-924D-2737D4547E91}" type="datetime'''''''''''''''''''''20''''%'''">
              <a:rPr kumimoji="0" lang="en-US" altLang="en-US" sz="1400" smtClean="0">
                <a:solidFill>
                  <a:srgbClr val="000000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E9A5BCE-8339-244D-0630-1C9681ED211F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3908425" y="5314950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463A2E-0DDD-4336-AB5D-8B9BFC54DDDE}" type="datetime'''''''''2''''''''''''0''%''''''''''''''''''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3BB9CF-D28C-140D-D39F-D96FA04C828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3862388" y="5822950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D03B42-B008-4889-9F72-171D4684FC70}" type="datetime'''''''2''''''0''''''''''''3''''''''''''''''''''0''''F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30" name="Rectangle 929">
            <a:extLst>
              <a:ext uri="{FF2B5EF4-FFF2-40B4-BE49-F238E27FC236}">
                <a16:creationId xmlns:a16="http://schemas.microsoft.com/office/drawing/2014/main" id="{49B870CB-CA11-D7B1-6A8D-1007811673C1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4633913" y="384968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393FBA-2AF4-463B-A0BA-B16E12981491}" type="datetime'''3''''''''7''''''''''''''''''''%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31" name="Rectangle 930">
            <a:extLst>
              <a:ext uri="{FF2B5EF4-FFF2-40B4-BE49-F238E27FC236}">
                <a16:creationId xmlns:a16="http://schemas.microsoft.com/office/drawing/2014/main" id="{50879E50-AE37-C651-F512-C347ADB9B373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4633913" y="465931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0B2D9C-D334-41E7-9FD7-BA68EC94D972}" type="datetime'''''''''''''''''''''4''''5''%'''''''">
              <a:rPr kumimoji="0" lang="en-US" altLang="en-US" sz="1400" smtClean="0">
                <a:solidFill>
                  <a:srgbClr val="000000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03EEB0-C900-1D6C-43CC-D00935D0FD97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00125" y="582295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FAF292-DA4E-42ED-AC4D-FECAC1DDB11B}" type="datetime'''2''''''''0''''''''''''''''00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DC63C69-DB9D-4F18-11D4-7E91B1E0749E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4587875" y="5822950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A30F44-2325-4C3A-9054-324170CF85D8}" type="datetime'2''0''''''''''''4''''''''''''''0''''''''''''''''''''''F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33" name="Rectangle 932">
            <a:extLst>
              <a:ext uri="{FF2B5EF4-FFF2-40B4-BE49-F238E27FC236}">
                <a16:creationId xmlns:a16="http://schemas.microsoft.com/office/drawing/2014/main" id="{55957845-4ED9-0181-810E-4BC8CA9146BA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5360988" y="266382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930E926-B2F1-4E7F-8872-0BE032F308E9}" type="datetime'''''''''''''''''''''''''''''''''''1''0''%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BA8A5552-C711-A58E-9CAD-502D07B6156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5360988" y="399573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B98DDD4-7B17-427B-99E6-216F415B4925}" type="datetime'8''''''''''''''1%'''''''''''''''''''''''''''">
              <a:rPr kumimoji="0" lang="en-US" altLang="en-US" sz="1400" smtClean="0">
                <a:solidFill>
                  <a:srgbClr val="000000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9D5D777-D7EF-8290-3307-C981353DBB5A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5408613" y="5314950"/>
            <a:ext cx="2921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B7692A-1BEA-4F3D-9F90-C053FF2ABE60}" type="datetime'''''''''''''''''''''''9''''''''''''''''''''''%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BC1269F-7B1F-84C7-1DB0-760FA9DC85C4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5314950" y="5822950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3809E81-031A-402D-B7BE-CF090D3933A4}" type="datetime'''2''''0''''5''''''''''0''''''''''''''''''''F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4" name="Rectangle 913">
            <a:extLst>
              <a:ext uri="{FF2B5EF4-FFF2-40B4-BE49-F238E27FC236}">
                <a16:creationId xmlns:a16="http://schemas.microsoft.com/office/drawing/2014/main" id="{2EC41A20-EE4B-A742-6CAB-F173A7042B57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1057275" y="4884738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F354E5-0BA9-425A-8099-FA1292117C50}" type="datetime'''''1''''.2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7" name="Rectangle 916">
            <a:extLst>
              <a:ext uri="{FF2B5EF4-FFF2-40B4-BE49-F238E27FC236}">
                <a16:creationId xmlns:a16="http://schemas.microsoft.com/office/drawing/2014/main" id="{547513EA-A058-4C6F-4083-E5151345DB0D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1782763" y="4818063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9F0D8FE-71E0-4A01-88A4-45263A563CAD}" type="datetime'''''''''''''''''''2''.''''4''''''''''''''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4650281-6BF1-3EB2-5A21-4C19B17A6ACC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4633913" y="527526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CBC755-0312-4B20-A0E6-26F658B07BB0}" type="datetime'''''''''18''''''''''''''''''''''%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</a:endParaRPr>
          </a:p>
        </p:txBody>
      </p:sp>
      <p:sp>
        <p:nvSpPr>
          <p:cNvPr id="924" name="Rectangle 923">
            <a:extLst>
              <a:ext uri="{FF2B5EF4-FFF2-40B4-BE49-F238E27FC236}">
                <a16:creationId xmlns:a16="http://schemas.microsoft.com/office/drawing/2014/main" id="{0AC750CE-7505-8265-9D32-6A71A04AE7A9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235325" y="4435475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0B59AD-A05A-4AE5-AD69-3E2BDD8EC10F}" type="datetime'''''''4''''''''''''''''''''''''''''''''''''''''.''''3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9" name="Rectangle 928">
            <a:extLst>
              <a:ext uri="{FF2B5EF4-FFF2-40B4-BE49-F238E27FC236}">
                <a16:creationId xmlns:a16="http://schemas.microsoft.com/office/drawing/2014/main" id="{35C35A5A-0859-652E-0538-CEB03810358E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3962400" y="3970338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4D1980-08C1-4ECB-BE1D-45BEBA722A1A}" type="datetime'''6''''''''''''''.''''''5''''''''''''''''''''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 useBgFill="1">
        <p:nvSpPr>
          <p:cNvPr id="932" name="Rectangle 931">
            <a:extLst>
              <a:ext uri="{FF2B5EF4-FFF2-40B4-BE49-F238E27FC236}">
                <a16:creationId xmlns:a16="http://schemas.microsoft.com/office/drawing/2014/main" id="{F4AEE303-8ED3-006A-C16B-AE83E19309B7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4687888" y="3359150"/>
            <a:ext cx="279400" cy="19208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B6B98BE-3A15-4FA3-A12F-8464EB2683AC}" type="datetime'''''9''''''''''''''''''''''''''''''.''''''''''''''''''''''4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35" name="Rectangle 934">
            <a:extLst>
              <a:ext uri="{FF2B5EF4-FFF2-40B4-BE49-F238E27FC236}">
                <a16:creationId xmlns:a16="http://schemas.microsoft.com/office/drawing/2014/main" id="{4DDA8F22-9C8C-0CBC-53E0-87575E1D0310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5367338" y="2392363"/>
            <a:ext cx="3746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97EF548-313A-4284-8D65-4C31DFDB39B5}" type="datetime'''''1''''4''''.''''''''''''0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5" name="Rectangle 914">
            <a:extLst>
              <a:ext uri="{FF2B5EF4-FFF2-40B4-BE49-F238E27FC236}">
                <a16:creationId xmlns:a16="http://schemas.microsoft.com/office/drawing/2014/main" id="{2A952F1F-1978-08BC-6FFD-7E18AEDF68C5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1728788" y="508476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1569AF-26C8-411B-BB27-8F6500D4496A}" type="datetime'''5''7''''''''%''''''''''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16" name="Rectangle 915">
            <a:extLst>
              <a:ext uri="{FF2B5EF4-FFF2-40B4-BE49-F238E27FC236}">
                <a16:creationId xmlns:a16="http://schemas.microsoft.com/office/drawing/2014/main" id="{046F8200-3711-2C95-2790-323992920513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1728788" y="5305425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A88733-EC0D-4100-879C-59D7562C4E64}" type="datetime'''''''''''''''''''2''9''''''%'''''''''''''''''''''''">
              <a:rPr kumimoji="0" lang="en-US" altLang="en-US" sz="1400" smtClean="0">
                <a:solidFill>
                  <a:srgbClr val="000000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079852-B26B-EA09-1056-610F854B1D8F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1728788" y="557212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114286-7697-43D1-8BE3-F48EFE1339D9}" type="datetime'''''''''''''''''''''1''''''''''''''''4''''''''''''''''''''%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sp>
        <p:nvSpPr>
          <p:cNvPr id="920" name="Rectangle 919">
            <a:extLst>
              <a:ext uri="{FF2B5EF4-FFF2-40B4-BE49-F238E27FC236}">
                <a16:creationId xmlns:a16="http://schemas.microsoft.com/office/drawing/2014/main" id="{D22926F2-A05F-9DC7-8D20-F1799C9863F6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2509838" y="4478338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04B241-4375-42C7-9356-07E3BA0A68D7}" type="datetime'''''''4''''''''''''.''''''''''''''''''''''''''''''''1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0BDB6DB-16DF-CC0F-AB30-2DF51A395167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V="1">
            <a:off x="3578225" y="5275263"/>
            <a:ext cx="322263" cy="27146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65098D1-1C24-448C-7191-1CB2C09CE15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V="1">
            <a:off x="3578225" y="5489575"/>
            <a:ext cx="0" cy="57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167913-4C41-B5EF-9C56-57C28043356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V="1">
            <a:off x="4303713" y="5195888"/>
            <a:ext cx="322262" cy="79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0D1FBBB-A3D0-BF91-AC51-31B7DF06E7DE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5030788" y="5195888"/>
            <a:ext cx="322262" cy="777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BE17557E-56EF-6DF4-9F5E-E319A5428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49168"/>
              </p:ext>
            </p:extLst>
          </p:nvPr>
        </p:nvGraphicFramePr>
        <p:xfrm>
          <a:off x="6281737" y="1749903"/>
          <a:ext cx="5570747" cy="4285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5629">
                  <a:extLst>
                    <a:ext uri="{9D8B030D-6E8A-4147-A177-3AD203B41FA5}">
                      <a16:colId xmlns:a16="http://schemas.microsoft.com/office/drawing/2014/main" val="3923531282"/>
                    </a:ext>
                  </a:extLst>
                </a:gridCol>
                <a:gridCol w="4245118">
                  <a:extLst>
                    <a:ext uri="{9D8B030D-6E8A-4147-A177-3AD203B41FA5}">
                      <a16:colId xmlns:a16="http://schemas.microsoft.com/office/drawing/2014/main" val="2676165874"/>
                    </a:ext>
                  </a:extLst>
                </a:gridCol>
              </a:tblGrid>
              <a:tr h="1428591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Segoe UI"/>
                          <a:cs typeface="Segoe UI"/>
                        </a:rPr>
                        <a:t/>
                      </a:r>
                      <a:endParaRPr lang="en-MY" sz="1400" b="0">
                        <a:solidFill>
                          <a:schemeClr val="tx1"/>
                        </a:solidFill>
                        <a:latin typeface="Segoe UI"/>
                        <a:cs typeface="Segoe UI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cs typeface="Segoe UI"/>
                        </a:rPr>
                        <a:t/>
                      </a:r>
                    </a:p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cs typeface="Segoe UI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200889"/>
                  </a:ext>
                </a:extLst>
              </a:tr>
              <a:tr h="1428591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Segoe UI"/>
                          <a:cs typeface="Segoe UI"/>
                        </a:rPr>
                        <a:t/>
                      </a:r>
                      <a:endParaRPr lang="en-MY" sz="1400">
                        <a:solidFill>
                          <a:schemeClr val="tx1"/>
                        </a:solidFill>
                        <a:latin typeface="Segoe UI"/>
                        <a:cs typeface="Segoe UI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  <a:cs typeface="Segoe UI"/>
                        </a:rPr>
                        <a:t/>
                      </a:r>
                      <a:endParaRPr lang="en-MY" sz="1400">
                        <a:solidFill>
                          <a:schemeClr val="tx1"/>
                        </a:solidFill>
                        <a:latin typeface="Segoe UI"/>
                        <a:cs typeface="Segoe UI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5003236"/>
                  </a:ext>
                </a:extLst>
              </a:tr>
              <a:tr h="1428591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/>
                      </a:r>
                      <a:endParaRPr lang="en-MY" sz="1400">
                        <a:solidFill>
                          <a:schemeClr val="bg1"/>
                        </a:solidFill>
                        <a:latin typeface="Segoe UI"/>
                        <a:cs typeface="Segoe UI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52182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9A9B7AAA-211D-E372-B27D-10014B44FF84}"/>
              </a:ext>
            </a:extLst>
          </p:cNvPr>
          <p:cNvSpPr txBox="1"/>
          <p:nvPr/>
        </p:nvSpPr>
        <p:spPr>
          <a:xfrm>
            <a:off x="1005888" y="2034289"/>
            <a:ext cx="4125911" cy="9541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buSzPct val="100000"/>
            </a:pPr>
            <a:r>
              <a:rPr lang="en-US" sz="1400"/>
              <a:t/>
            </a:r>
          </a:p>
        </p:txBody>
      </p:sp>
    </p:spTree>
    <p:extLst>
      <p:ext uri="{BB962C8B-B14F-4D97-AF65-F5344CB8AC3E}">
        <p14:creationId xmlns:p14="http://schemas.microsoft.com/office/powerpoint/2010/main" val="12787430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17F404-E82A-177A-287B-063023B9CE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" name="Rectangle 961">
            <a:extLst>
              <a:ext uri="{FF2B5EF4-FFF2-40B4-BE49-F238E27FC236}">
                <a16:creationId xmlns:a16="http://schemas.microsoft.com/office/drawing/2014/main" id="{6EC1E5B1-DF4F-4557-01D7-C17E3CAFEA88}"/>
              </a:ext>
            </a:extLst>
          </p:cNvPr>
          <p:cNvSpPr/>
          <p:nvPr/>
        </p:nvSpPr>
        <p:spPr>
          <a:xfrm>
            <a:off x="1062038" y="5189013"/>
            <a:ext cx="10795000" cy="8804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>
                <a:solidFill>
                  <a:schemeClr val="tx1"/>
                </a:solidFill>
              </a:rPr>
              <a:t>Vietnam - Supply &amp; Demand Dynamics</a:t>
            </a:r>
            <a:r>
              <a:rPr lang="en-US" sz="1400" err="1">
                <a:solidFill>
                  <a:schemeClr val="tx1"/>
                </a:solidFill>
              </a:rPr>
              <a:t>System transition is underway: coal share remains large while gas and renewables accelerate.</a:t>
            </a:r>
            <a:r>
              <a:rPr lang="en-US" sz="1400">
                <a:solidFill>
                  <a:schemeClr val="tx1"/>
                </a:solidFill>
              </a:rPr>
              <a:t>Source: YCP Analysis</a:t>
            </a:r>
          </a:p>
          <a:p>
            <a:r>
              <a:rPr lang="en-US" sz="1400" i="1">
                <a:solidFill>
                  <a:schemeClr val="tx1"/>
                </a:solidFill>
              </a:rPr>
              <a:t>Key Insight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endParaRPr kumimoji="1" lang="en-MY" sz="1050">
              <a:solidFill>
                <a:schemeClr val="tx1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7462D2-7EBB-DAFD-D403-34960203634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556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425" imgH="424" progId="TCLayout.ActiveDocument.1">
                  <p:embed/>
                </p:oleObj>
              </mc:Choice>
              <mc:Fallback>
                <p:oleObj name="think-cell Slide" r:id="rId68" imgW="425" imgH="424" progId="TCLayout.ActiveDocument.1">
                  <p:embed/>
                  <p:pic>
                    <p:nvPicPr>
                      <p:cNvPr id="10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7462D2-7EBB-DAFD-D403-349602036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F514742-1EEE-D1D7-C1E0-897959640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Energy mix transition creates both transition risk and differentiated service opportunities.</a:t>
            </a:r>
            <a:b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>
                <a:latin typeface="Segoe UI" panose="020B0502040204020203" pitchFamily="34" charset="0"/>
                <a:cs typeface="Segoe UI" panose="020B0502040204020203" pitchFamily="34" charset="0"/>
              </a:rPr>
              <a:t>Market Data</a:t>
            </a:r>
            <a:r>
              <a:rPr lang="en-MY" sz="1600"/>
              <a:t>Coal still anchors the base, but policy pushes cleaner additions.</a:t>
            </a:r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A145777-A11E-5F8B-EFB4-67DA637B0808}"/>
              </a:ext>
            </a:extLst>
          </p:cNvPr>
          <p:cNvSpPr txBox="1"/>
          <p:nvPr/>
        </p:nvSpPr>
        <p:spPr>
          <a:xfrm>
            <a:off x="340272" y="6057376"/>
            <a:ext cx="1151676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ea typeface="Meiryo UI"/>
                <a:cs typeface="Times New Roman" panose="02020603050405020304" pitchFamily="18" charset="0"/>
              </a:rPr>
              <a:t>Opportunity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>Gas and LNG rise as domestic production declines.</a:t>
            </a:r>
            <a:r>
              <a:rPr lang="en-US" sz="1000" err="1">
                <a:ea typeface="Meiryo UI"/>
                <a:cs typeface="Times New Roman" panose="02020603050405020304" pitchFamily="18" charset="0"/>
              </a:rPr>
              <a:t/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/>
            </a:r>
            <a:r>
              <a:rPr lang="en-US" sz="1000" err="1">
                <a:ea typeface="Meiryo UI"/>
                <a:cs typeface="Times New Roman" panose="02020603050405020304" pitchFamily="18" charset="0"/>
              </a:rPr>
              <a:t/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/>
            </a:r>
            <a:r>
              <a:rPr lang="en-GB" sz="1000">
                <a:ea typeface="Meiryo UI"/>
                <a:cs typeface="Times New Roman" panose="02020603050405020304" pitchFamily="18" charset="0"/>
              </a:rPr>
              <a:t/>
            </a:r>
          </a:p>
          <a:p>
            <a:r>
              <a:rPr lang="en-GB" sz="1000">
                <a:ea typeface="Meiryo UI"/>
                <a:cs typeface="Times New Roman" panose="02020603050405020304" pitchFamily="18" charset="0"/>
              </a:rPr>
              <a:t/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/>
            </a:r>
            <a:endParaRPr lang="en-GB" sz="1000">
              <a:ea typeface="Meiryo UI"/>
              <a:cs typeface="Times New Roman" panose="02020603050405020304" pitchFamily="18" charset="0"/>
            </a:endParaRPr>
          </a:p>
        </p:txBody>
      </p:sp>
      <p:grpSp>
        <p:nvGrpSpPr>
          <p:cNvPr id="63" name="グループ化 64">
            <a:extLst>
              <a:ext uri="{FF2B5EF4-FFF2-40B4-BE49-F238E27FC236}">
                <a16:creationId xmlns:a16="http://schemas.microsoft.com/office/drawing/2014/main" id="{CDCF93CC-522E-BD80-8697-D694997C2F00}"/>
              </a:ext>
            </a:extLst>
          </p:cNvPr>
          <p:cNvGrpSpPr/>
          <p:nvPr/>
        </p:nvGrpSpPr>
        <p:grpSpPr>
          <a:xfrm>
            <a:off x="370205" y="1253287"/>
            <a:ext cx="5547995" cy="407556"/>
            <a:chOff x="455612" y="1382529"/>
            <a:chExt cx="4113213" cy="655821"/>
          </a:xfrm>
          <a:noFill/>
        </p:grpSpPr>
        <p:sp>
          <p:nvSpPr>
            <p:cNvPr id="960" name="ColumnHeader">
              <a:extLst>
                <a:ext uri="{FF2B5EF4-FFF2-40B4-BE49-F238E27FC236}">
                  <a16:creationId xmlns:a16="http://schemas.microsoft.com/office/drawing/2014/main" id="{EE2AECF0-6FE4-3A16-11BE-79FC735175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961" name="直線コネクタ 66">
              <a:extLst>
                <a:ext uri="{FF2B5EF4-FFF2-40B4-BE49-F238E27FC236}">
                  <a16:creationId xmlns:a16="http://schemas.microsoft.com/office/drawing/2014/main" id="{874A51B1-1CD7-D4D7-40B8-300F9C175EE4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5" name="グループ化 64">
            <a:extLst>
              <a:ext uri="{FF2B5EF4-FFF2-40B4-BE49-F238E27FC236}">
                <a16:creationId xmlns:a16="http://schemas.microsoft.com/office/drawing/2014/main" id="{82BD7B61-606D-48E0-E759-5EECD76ED875}"/>
              </a:ext>
            </a:extLst>
          </p:cNvPr>
          <p:cNvGrpSpPr/>
          <p:nvPr/>
        </p:nvGrpSpPr>
        <p:grpSpPr>
          <a:xfrm>
            <a:off x="6273800" y="1257615"/>
            <a:ext cx="5547994" cy="407556"/>
            <a:chOff x="455612" y="1382529"/>
            <a:chExt cx="4113213" cy="655821"/>
          </a:xfrm>
          <a:noFill/>
        </p:grpSpPr>
        <p:sp>
          <p:nvSpPr>
            <p:cNvPr id="966" name="ColumnHeader">
              <a:extLst>
                <a:ext uri="{FF2B5EF4-FFF2-40B4-BE49-F238E27FC236}">
                  <a16:creationId xmlns:a16="http://schemas.microsoft.com/office/drawing/2014/main" id="{AC0F0E1A-4DAB-0C27-D2F1-083F6778ED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967" name="直線コネクタ 66">
              <a:extLst>
                <a:ext uri="{FF2B5EF4-FFF2-40B4-BE49-F238E27FC236}">
                  <a16:creationId xmlns:a16="http://schemas.microsoft.com/office/drawing/2014/main" id="{759EBF06-FF21-E4B1-CB37-5A2A25837584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8" name="TextBox 967">
            <a:extLst>
              <a:ext uri="{FF2B5EF4-FFF2-40B4-BE49-F238E27FC236}">
                <a16:creationId xmlns:a16="http://schemas.microsoft.com/office/drawing/2014/main" id="{C1432E74-75F9-3AB3-B6EA-15DDDCC06AD0}"/>
              </a:ext>
            </a:extLst>
          </p:cNvPr>
          <p:cNvSpPr txBox="1"/>
          <p:nvPr/>
        </p:nvSpPr>
        <p:spPr>
          <a:xfrm>
            <a:off x="370205" y="1739410"/>
            <a:ext cx="1409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8E72284-0051-B569-8A66-D46B98D0CC42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39788" y="4132263"/>
            <a:ext cx="5078413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F7B7892-3AEB-3B79-9CD3-A5086D8AB3E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39788" y="3670300"/>
            <a:ext cx="5078413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F3FD371-B479-C6D0-E215-0C3E9BE183D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39788" y="3206750"/>
            <a:ext cx="5078413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6454A587-D1BF-7609-70A7-4D589E2829C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39788" y="2744788"/>
            <a:ext cx="5078413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D7C6CCD-C550-82BC-C096-A3A35F76951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39788" y="2281238"/>
            <a:ext cx="5078413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EEE7591B-7843-8FB5-5F17-B90D914D49D4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84442711"/>
              </p:ext>
            </p:extLst>
          </p:nvPr>
        </p:nvGraphicFramePr>
        <p:xfrm>
          <a:off x="757238" y="2198688"/>
          <a:ext cx="5243512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995" name="Rectangle 994">
            <a:extLst>
              <a:ext uri="{FF2B5EF4-FFF2-40B4-BE49-F238E27FC236}">
                <a16:creationId xmlns:a16="http://schemas.microsoft.com/office/drawing/2014/main" id="{B0D28A47-863C-2A33-1408-691F3765F4F8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34975" y="4505325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6EDCBD-C640-4140-BE78-65651E31212A}" type="datetime'''0''''''''''.''''''0''''''''''''''''''''''''''''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97" name="Rectangle 996">
            <a:extLst>
              <a:ext uri="{FF2B5EF4-FFF2-40B4-BE49-F238E27FC236}">
                <a16:creationId xmlns:a16="http://schemas.microsoft.com/office/drawing/2014/main" id="{62A70D91-0981-F3F7-C8DF-2BACEAACF3C5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34975" y="4041775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CB094E-8DFF-4A8B-BD53-47BCAA569B51}" type="datetime'2''''''''''''''''''''''''''''''''''''.''''''''''''''''''''0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99" name="Rectangle 998">
            <a:extLst>
              <a:ext uri="{FF2B5EF4-FFF2-40B4-BE49-F238E27FC236}">
                <a16:creationId xmlns:a16="http://schemas.microsoft.com/office/drawing/2014/main" id="{96A57AC9-258A-08FC-1320-46E8348AC92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34975" y="3579813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62E3F3-6B71-4CD4-BCE0-972C3DE997AF}" type="datetime'''''''''4''.''''''''''''''''0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001" name="Rectangle 1000">
            <a:extLst>
              <a:ext uri="{FF2B5EF4-FFF2-40B4-BE49-F238E27FC236}">
                <a16:creationId xmlns:a16="http://schemas.microsoft.com/office/drawing/2014/main" id="{D0E8E896-41B7-9CD2-F20B-65087E27FA40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34975" y="3116263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6F047AA-538C-41EF-8C5A-25765F16379E}" type="datetime'''6''''''''''''''''''''''''''''.''''''''''''''0''''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003" name="Rectangle 1002">
            <a:extLst>
              <a:ext uri="{FF2B5EF4-FFF2-40B4-BE49-F238E27FC236}">
                <a16:creationId xmlns:a16="http://schemas.microsoft.com/office/drawing/2014/main" id="{CB22B319-3013-E1D3-3E72-A4D7A2AB8224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34975" y="2654300"/>
            <a:ext cx="2286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F52BD3-5B41-40E2-9EDB-8D7F254B3788}" type="datetime'''''''''''8''''''''''''.0'''''''''''">
              <a:rPr kumimoji="0" lang="en-US" altLang="en-US" sz="1400" smtClean="0">
                <a:solidFill>
                  <a:schemeClr val="tx1"/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009" name="Rectangle 1008">
            <a:extLst>
              <a:ext uri="{FF2B5EF4-FFF2-40B4-BE49-F238E27FC236}">
                <a16:creationId xmlns:a16="http://schemas.microsoft.com/office/drawing/2014/main" id="{CB51E0FE-CF70-805E-5E80-1807D8C97FC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39725" y="2190750"/>
            <a:ext cx="3238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3715E4-7E4E-42D7-AAE2-DB18DF617A3C}" type="datetime'''1''''''''0''''''''''''''''''''''''''.''0'''''''''">
              <a:rPr kumimoji="0" lang="en-US" altLang="en-US" sz="1400" smtClean="0">
                <a:solidFill>
                  <a:schemeClr val="tx1"/>
                </a:solidFill>
                <a:effectLst/>
                <a:sym typeface="Segoe UI" panose="020B0502040204020203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730C76-4158-3559-74D5-C03817B4040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white">
          <a:xfrm>
            <a:off x="5353050" y="3119438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1D4A630-C1B8-65D1-52E0-531345791B0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white">
          <a:xfrm>
            <a:off x="4627563" y="3590925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02FD86-8BE0-88D9-263E-E8821406BBC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white">
          <a:xfrm>
            <a:off x="3902075" y="3906838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259D44-5710-9A25-1718-373C6CD9ABD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white">
          <a:xfrm>
            <a:off x="3176588" y="4116388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E92741D-7B53-2461-CAA0-CFA90960AF1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white">
          <a:xfrm>
            <a:off x="2451100" y="4148138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8C9B167-23D3-F245-F903-F69D74A784F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white">
          <a:xfrm>
            <a:off x="1725613" y="4327525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0BB57C9-F4C9-3270-1F62-24492091F42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white">
          <a:xfrm>
            <a:off x="1000125" y="4486275"/>
            <a:ext cx="40322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6733518-9C3C-D498-FD3E-58D194C33B20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201738" y="4329113"/>
            <a:ext cx="0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0" name="Straight Connector 969">
            <a:extLst>
              <a:ext uri="{FF2B5EF4-FFF2-40B4-BE49-F238E27FC236}">
                <a16:creationId xmlns:a16="http://schemas.microsoft.com/office/drawing/2014/main" id="{F0F99165-1549-A710-DE34-0FD828D9026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847975" y="3944938"/>
            <a:ext cx="0" cy="261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0EA7B4F-06C0-BBD9-9087-A55F841CDBE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V="1">
            <a:off x="1201738" y="4557713"/>
            <a:ext cx="0" cy="63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63869F8-CE6F-E83B-225C-9AE1AFE2558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927225" y="41021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6655225-FB06-D6C9-2F90-662C4ACFAD0C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633538" y="4416425"/>
            <a:ext cx="387350" cy="192088"/>
          </a:xfrm>
          <a:prstGeom prst="rect">
            <a:avLst/>
          </a:prstGeom>
          <a:solidFill>
            <a:srgbClr val="3C57F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4A4FED-74C5-4D10-9AC2-27C6C46FD32B}" type="datetime'''''''''''''''''''''''''''3''''''''6%''''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2CAF7D0-B3AB-DD2D-3589-73A21EDAEE6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730375" y="4785976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3FCDF6-661B-476B-B0C0-78802F25D024}" type="datetime'''''''''''''2''''''''0''''''''''''''''10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5" name="Rectangle 974">
            <a:extLst>
              <a:ext uri="{FF2B5EF4-FFF2-40B4-BE49-F238E27FC236}">
                <a16:creationId xmlns:a16="http://schemas.microsoft.com/office/drawing/2014/main" id="{FE108FD7-042D-489F-C973-B5CF1CEA4A26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2459038" y="396398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9CD445-F253-4A35-ADE0-9FE28FF410E2}" type="datetime'''''''2''''''''''''''''''''''''''9''''''''''''''%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D67FFD-753D-C058-128E-43D94724B98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2654300" y="3752850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BA6DEB-12F0-412E-87FC-474580E4EE6C}" type="datetime'''''''''''''1''''''''9''''''''%'''''''''">
              <a:rPr kumimoji="0"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FA84145-982B-AD2C-A1AC-DC53766A97B6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459038" y="433546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7F42F5-5F3B-470D-841C-87C85214DA5E}" type="datetime'''''''''''5''''''''''''2''''%''''''''''''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2EC83BA-1ECA-C9C1-3431-F0C616DB1D12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2455863" y="4785976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B9BCDE-455F-4645-9FA2-53499A67F434}" type="datetime'''2''''''''''''''''0''''''''''''''''''''2''''0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6" name="Rectangle 975">
            <a:extLst>
              <a:ext uri="{FF2B5EF4-FFF2-40B4-BE49-F238E27FC236}">
                <a16:creationId xmlns:a16="http://schemas.microsoft.com/office/drawing/2014/main" id="{13522BED-FBF5-C819-C0CE-834DB0E3D575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184525" y="392588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DFC0CF-C8CC-4ACC-B45D-D555E9D3672E}" type="datetime'''''''''''''''''''28%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1" name="Rectangle 970">
            <a:extLst>
              <a:ext uri="{FF2B5EF4-FFF2-40B4-BE49-F238E27FC236}">
                <a16:creationId xmlns:a16="http://schemas.microsoft.com/office/drawing/2014/main" id="{44AEAAF8-9622-4E2E-C174-B015422EE62C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008063" y="413702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0ED553-510E-41B3-8697-803B0AD413E0}" type="datetime'''''''''''''5''''''''''''''''''''4''''''''%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B386C88-1DF1-BD6A-6D21-D9981392D218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184525" y="4094163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5E3175-0299-434A-9BF5-8F587C9675E2}" type="datetime'2''''''''''''''''''''2''''%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9E3B9C7-3963-F880-D362-A34EE217F5E4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184525" y="433387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763838-9A3A-4B31-AF11-683D69ED0CDE}" type="datetime'''''''''''''5''''''''0''''''''''''''%''''''''''''''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5352FF0-2AA2-558F-4459-72C9F59EDF98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181350" y="4785976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9A8111-BBF9-47FC-8445-F46842431D12}" type="datetime'''''''''''''''''''''''''2''''0''''''''2''''''''''3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7" name="Rectangle 976">
            <a:extLst>
              <a:ext uri="{FF2B5EF4-FFF2-40B4-BE49-F238E27FC236}">
                <a16:creationId xmlns:a16="http://schemas.microsoft.com/office/drawing/2014/main" id="{99EBA3C3-0D44-142D-9D46-0D9497054C24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910013" y="3702050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6196D1-188C-49A9-9078-F48EFA1795D1}" type="datetime'''''''''''''''''''''''''''''''''''''''''''2''''4''''''%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058CCC-F10F-83BC-E74D-13ECCA059287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1008063" y="4406900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5420A2-A096-4B21-91AE-4E0B4FCA902C}" type="datetime'''''''''''''''''''''''''14''''''''''''''''''''''''''''''%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C709DCB-6C43-2D38-2377-C84EB44A45EE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910013" y="392588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3741E79-420F-4E65-A086-89639CBC0A7A}" type="datetime'''''''''''''''''''''2''''''''5''%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4CA198B-1A39-3103-24B9-153D328C84A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910013" y="427037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D2F1B0-6601-4699-B953-ADD5ABA80707}" type="datetime'''''''''''''''''''''''''5''''''''''''0''''''''''''''%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7514304-C20E-3106-5E4F-8F2D571A58D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3863975" y="4785976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7EE3E2-A200-46F9-B844-4119E90219DC}" type="datetime'''''''20''30''''''''''''''''''''''F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8" name="Rectangle 977">
            <a:extLst>
              <a:ext uri="{FF2B5EF4-FFF2-40B4-BE49-F238E27FC236}">
                <a16:creationId xmlns:a16="http://schemas.microsoft.com/office/drawing/2014/main" id="{E778DFBA-301F-5632-FB8B-4E88F825064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4635500" y="333851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2E940B-ED7A-44A5-922B-A97E1B1E158A}" type="datetime'''''''''''''2''''''''''''''''''''4%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F724DD-22F0-CDDD-B976-CA7F590DF96B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008063" y="462121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46706E5-E6D0-4BAF-84F2-6F387F9460B4}" type="datetime'''''''''''''''''''''''''''''''''''''''32''''''''''''''''''''%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D05849E-A42C-292A-4464-A80B15922D23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4635500" y="368141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2305C20-826A-45C7-AA8A-C808B69229DC}" type="datetime'''''''''2''''''''8''''''''''''''''''''''''''''''''%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08B799F-01C3-22FF-DE0D-A41D3FE13143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635500" y="418306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DFF9F2-96A5-4392-A661-D699CA703802}" type="datetime'''''''''''4''''''''''''''8''''''''''''''''%''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99F0E0-6DCC-E30F-002C-5481CFED8D1B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04888" y="4785976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B061D8-B5AB-4F09-B734-67A35FC26E42}" type="datetime'''''''''''''''''2''''''''''''''''''''''''0''''''0''0''''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9" name="Rectangle 978">
            <a:extLst>
              <a:ext uri="{FF2B5EF4-FFF2-40B4-BE49-F238E27FC236}">
                <a16:creationId xmlns:a16="http://schemas.microsoft.com/office/drawing/2014/main" id="{B0E7147E-F543-4B8D-3A0A-21E9C624A400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5360988" y="280352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090E12-1B18-4E07-8D9E-68BF208F3889}" type="datetime'23''''''''''''''''''''''''''''%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974" name="Rectangle 973">
            <a:extLst>
              <a:ext uri="{FF2B5EF4-FFF2-40B4-BE49-F238E27FC236}">
                <a16:creationId xmlns:a16="http://schemas.microsoft.com/office/drawing/2014/main" id="{E0BDFD62-E45B-EDD0-A1F4-3D66B4CC88C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1733550" y="3910013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C36E64-C59E-4AAE-A455-25716D874486}" type="datetime'''''''''''''''''''4''''''''3''''''''''''''''%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09EDEA1-5D4A-2842-3B07-B635FEAB7CC4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5360988" y="3322638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E1DBBD-F1A0-4E7D-A40A-4A1433697E9E}" type="datetime'''''''''''31''''''''''%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344B584-1293-E525-894C-431577BD084F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5360988" y="4060825"/>
            <a:ext cx="3873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E19584-B85E-4C32-A279-7EF2306B78E0}" type="datetime'''''''''4''''''''''''''6''''''''''''''%'''">
              <a:rPr kumimoji="0"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bg1"/>
              </a:solidFill>
              <a:sym typeface="Segoe UI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24996CF-7F6C-3A7A-A203-B5D0F619C91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314950" y="4785976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9EBF51E-1214-4F67-9A72-F2C2CCDB67E7}" type="datetime'''''''2''''0''''''''5''0''''''''''''''''''''''''''''''F''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3F6DCC-67B6-62EA-9286-87F3E9B70A46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062038" y="3944938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651502-4E85-4344-A98E-5577BF615DBF}" type="datetime'''''''''''''''''''''''''''''''''''''''1''''''.''''''''''''''0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60576FA-4377-6791-E32C-DC6C1EC0B9D2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4589463" y="4785976"/>
            <a:ext cx="4810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1533EA-9EE6-427D-9718-EF19F5CD2F55}" type="datetime'''''''''''2''''''0''4''''''''''''''''''''''''''''0''''F'">
              <a:rPr kumimoji="0"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 useBgFill="1">
        <p:nvSpPr>
          <p:cNvPr id="47" name="Rectangle 46">
            <a:extLst>
              <a:ext uri="{FF2B5EF4-FFF2-40B4-BE49-F238E27FC236}">
                <a16:creationId xmlns:a16="http://schemas.microsoft.com/office/drawing/2014/main" id="{8498B142-BA51-8B92-48AD-5721036CC8AD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2513013" y="3560763"/>
            <a:ext cx="279400" cy="19208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59F1A1-FCEC-4591-AC33-2DAC472EC38B}" type="datetime'''''''''2''''''''''''.''''''''''''''''''''7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64639A5-96AD-E357-6A5B-7E955444336A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3238500" y="3709988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6D6AA4-5ADB-4D8A-91CE-DFDF54A6F432}" type="datetime'''''''''''''''2''''''''''''.''''''9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C9A2150-9440-0BF1-611E-F3A2104DB64D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3963988" y="3470275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9C4381-3400-4A35-89A8-4E8BB8507E37}" type="datetime'''''''''''''''''''''''''3''.''9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 useBgFill="1">
        <p:nvSpPr>
          <p:cNvPr id="50" name="Rectangle 49">
            <a:extLst>
              <a:ext uri="{FF2B5EF4-FFF2-40B4-BE49-F238E27FC236}">
                <a16:creationId xmlns:a16="http://schemas.microsoft.com/office/drawing/2014/main" id="{8AF6510A-1687-5CCA-2631-C2949D0B4FD3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4689475" y="3059113"/>
            <a:ext cx="279400" cy="19208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835A4F-8C47-420C-BDE5-4FE584E1CDEE}" type="datetime'''''''''''''''''''''''''''''5.''''''7''''''''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8685A56-7D81-D8B8-1E81-CF71E645720F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5414963" y="2462213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4013365-BA8C-48F0-AA14-F69D0FC42FDC}" type="datetime'''''''''8''''''''''''''''''''''''''''''''''''''''''''.''3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9B20B9-87DB-4166-01DA-2FA7A3EFB14F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1835150" y="4281488"/>
            <a:ext cx="387350" cy="192088"/>
          </a:xfrm>
          <a:prstGeom prst="rect">
            <a:avLst/>
          </a:prstGeom>
          <a:solidFill>
            <a:srgbClr val="9B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B7BF2E-3777-4E85-B208-86A0C6CAF18B}" type="datetime'''''''''''2''''''''''''''''''''''''''''1''%''''''''''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AA070D-0E37-D124-5AEF-080CB4F571A4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1787525" y="3717925"/>
            <a:ext cx="27940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745ED4-D6F4-4DFD-BCAB-82756B745205}" type="datetime'''2''.''''''''''''''''''''''''0'''''''">
              <a:rPr kumimoji="0"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8D0FC412-1695-C593-A42E-1448F6412F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0457090"/>
              </p:ext>
            </p:extLst>
          </p:nvPr>
        </p:nvGraphicFramePr>
        <p:xfrm>
          <a:off x="6282064" y="1706212"/>
          <a:ext cx="5679992" cy="3600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275A9F1-0750-4E2B-E8BD-85EE935376FD}"/>
              </a:ext>
            </a:extLst>
          </p:cNvPr>
          <p:cNvSpPr/>
          <p:nvPr/>
        </p:nvSpPr>
        <p:spPr>
          <a:xfrm>
            <a:off x="3182445" y="4291701"/>
            <a:ext cx="396000" cy="29642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089C3A79-D563-706B-D76C-3E216891327A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3571875" y="2281238"/>
            <a:ext cx="3151149" cy="2148681"/>
          </a:xfrm>
          <a:prstGeom prst="bentConnector3">
            <a:avLst>
              <a:gd name="adj1" fmla="val 4861"/>
            </a:avLst>
          </a:prstGeom>
          <a:ln w="28575">
            <a:solidFill>
              <a:schemeClr val="accent6"/>
            </a:solidFill>
            <a:prstDash val="sys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E046A21E-5216-3953-A091-FB1BFD845E8E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679575" y="1839913"/>
            <a:ext cx="250825" cy="187325"/>
          </a:xfrm>
          <a:prstGeom prst="rect">
            <a:avLst/>
          </a:prstGeom>
          <a:solidFill>
            <a:srgbClr val="3C57FE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6C41063-22AE-23E5-BB50-38D672818D61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2727325" y="1839913"/>
            <a:ext cx="250825" cy="187325"/>
          </a:xfrm>
          <a:prstGeom prst="rect">
            <a:avLst/>
          </a:prstGeom>
          <a:solidFill>
            <a:srgbClr val="9BC9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00F1398-A5A1-6967-FAB3-117980ACFFFB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3875088" y="1839913"/>
            <a:ext cx="250825" cy="187325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5262C2-65E0-6C94-928E-0210CA3C561B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981200" y="1835150"/>
            <a:ext cx="6445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77232C1-7497-4A8A-B352-D7EFFE3FAAF0}" type="datetime'''''I''''''ndu''''''''s''t''''''ry'''''''''''''''''''''''''''">
              <a:rPr kumimoji="0" lang="en-US" altLang="en-US" sz="1400" smtClean="0">
                <a:solidFill>
                  <a:schemeClr val="tx1"/>
                </a:solidFill>
                <a:effectLst/>
                <a:sym typeface="Segoe UI" panose="020B0502040204020203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83CE1EA-07ED-67D9-64BA-7BBEE441774B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3028950" y="1835150"/>
            <a:ext cx="7445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6C168A2-236F-4A11-A15F-C61D7B80C668}" type="datetime'''''''''''''''''T''''r''''an''''sp''o''''''''''''''''''r''''t'">
              <a:rPr kumimoji="0" lang="en-US" altLang="en-US" sz="1400" smtClean="0">
                <a:solidFill>
                  <a:schemeClr val="tx1"/>
                </a:solidFill>
                <a:effectLst/>
                <a:sym typeface="Segoe UI" panose="020B0502040204020203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1BA1F9D-1945-3264-95C7-D77DDEA22A2C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4176713" y="1835150"/>
            <a:ext cx="4492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21849A5-C58B-4E2B-82C8-B5B063B071C7}" type="datetime'''Ot''''''''''h''''''''''''er'''''''''''''''''''''''''''''''">
              <a:rPr kumimoji="0" lang="en-US" altLang="en-US" sz="1400" smtClean="0">
                <a:solidFill>
                  <a:schemeClr val="tx1"/>
                </a:solidFill>
                <a:effectLst/>
                <a:sym typeface="Segoe UI" panose="020B0502040204020203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/>
            </a:fld>
            <a:endParaRPr kumimoji="0" lang="en-US" sz="1400">
              <a:solidFill>
                <a:schemeClr val="tx1"/>
              </a:solidFill>
              <a:sym typeface="Segoe UI" panose="020B0502040204020203" pitchFamily="34" charset="0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11A2361E-22AF-83C4-F7E1-59FB01048C4E}"/>
              </a:ext>
            </a:extLst>
          </p:cNvPr>
          <p:cNvPicPr>
            <a:picLocks noChangeAspect="1"/>
          </p:cNvPicPr>
          <p:nvPr/>
        </p:nvPicPr>
        <p:blipFill>
          <a:blip r:embed="rId72"/>
          <a:srcRect r="11121" b="14457"/>
          <a:stretch>
            <a:fillRect/>
          </a:stretch>
        </p:blipFill>
        <p:spPr>
          <a:xfrm>
            <a:off x="398817" y="5201088"/>
            <a:ext cx="652463" cy="868363"/>
          </a:xfrm>
          <a:prstGeom prst="rect">
            <a:avLst/>
          </a:prstGeom>
          <a:ln w="28575"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3719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CEA1D-9AD2-1BC7-14C8-C9B750A06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C272A8-CC07-D716-822C-E1D10094817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25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C272A8-CC07-D716-822C-E1D1009481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BD18E31-888B-4D29-7AEB-4A3CEC3017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1359275"/>
              </p:ext>
            </p:extLst>
          </p:nvPr>
        </p:nvGraphicFramePr>
        <p:xfrm>
          <a:off x="334963" y="1610823"/>
          <a:ext cx="11517521" cy="448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B7DBD2D-2490-C2FE-B65F-30641168A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0"/>
          <a:lstStyle/>
          <a:p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Vietnam - Pricing &amp; Tariff Structures</a:t>
            </a:r>
            <a:b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>
                <a:latin typeface="Segoe UI" panose="020B0502040204020203" pitchFamily="34" charset="0"/>
                <a:cs typeface="Segoe UI" panose="020B0502040204020203" pitchFamily="34" charset="0"/>
              </a:rPr>
              <a:t>Tariff direction and LNG parity trends support service models with strong efficiency economics.</a:t>
            </a:r>
          </a:p>
        </p:txBody>
      </p:sp>
      <p:grpSp>
        <p:nvGrpSpPr>
          <p:cNvPr id="6" name="グループ化 64">
            <a:extLst>
              <a:ext uri="{FF2B5EF4-FFF2-40B4-BE49-F238E27FC236}">
                <a16:creationId xmlns:a16="http://schemas.microsoft.com/office/drawing/2014/main" id="{096D2544-D060-CED6-381E-F1FCAF531225}"/>
              </a:ext>
            </a:extLst>
          </p:cNvPr>
          <p:cNvGrpSpPr/>
          <p:nvPr/>
        </p:nvGrpSpPr>
        <p:grpSpPr>
          <a:xfrm>
            <a:off x="334963" y="1195820"/>
            <a:ext cx="11522075" cy="407556"/>
            <a:chOff x="455612" y="1382529"/>
            <a:chExt cx="4113213" cy="655821"/>
          </a:xfrm>
          <a:noFill/>
        </p:grpSpPr>
        <p:sp>
          <p:nvSpPr>
            <p:cNvPr id="8" name="ColumnHeader">
              <a:extLst>
                <a:ext uri="{FF2B5EF4-FFF2-40B4-BE49-F238E27FC236}">
                  <a16:creationId xmlns:a16="http://schemas.microsoft.com/office/drawing/2014/main" id="{0375D827-5D6F-4996-246F-6B86036C3B8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endParaRPr lang="en-US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9" name="直線コネクタ 66">
              <a:extLst>
                <a:ext uri="{FF2B5EF4-FFF2-40B4-BE49-F238E27FC236}">
                  <a16:creationId xmlns:a16="http://schemas.microsoft.com/office/drawing/2014/main" id="{651D769A-2A44-77E4-3A35-0ED24D8E3B59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ColumnHeader">
            <a:extLst>
              <a:ext uri="{FF2B5EF4-FFF2-40B4-BE49-F238E27FC236}">
                <a16:creationId xmlns:a16="http://schemas.microsoft.com/office/drawing/2014/main" id="{D8037BBE-F1CD-B34F-AF4A-C2CFA3F49E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14211" y="1210713"/>
            <a:ext cx="8633218" cy="40011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tIns="91440" bIns="91440" anchor="b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1400">
                <a:solidFill>
                  <a:srgbClr val="000000"/>
                </a:solidFill>
                <a:latin typeface="Segoe UI" panose="020B0502040204020203" pitchFamily="34" charset="0"/>
                <a:ea typeface="Meiryo UI" panose="020B0604030504040204" pitchFamily="50" charset="-128"/>
                <a:cs typeface="Segoe UI" panose="020B0502040204020203" pitchFamily="34" charset="0"/>
              </a:rPr>
              <a:t>Source: YCP Analysi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6FA71-7E95-515A-A52D-84858241A289}"/>
              </a:ext>
            </a:extLst>
          </p:cNvPr>
          <p:cNvSpPr txBox="1"/>
          <p:nvPr/>
        </p:nvSpPr>
        <p:spPr>
          <a:xfrm>
            <a:off x="409155" y="1712725"/>
            <a:ext cx="163921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>
                <a:latin typeface="Segoe UI"/>
                <a:cs typeface="Segoe UI"/>
              </a:rPr>
              <a:t/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E0D1C9-BDBA-AF6A-21DE-55E6B540E2C0}"/>
              </a:ext>
            </a:extLst>
          </p:cNvPr>
          <p:cNvSpPr txBox="1"/>
          <p:nvPr/>
        </p:nvSpPr>
        <p:spPr>
          <a:xfrm>
            <a:off x="299547" y="6092825"/>
            <a:ext cx="115167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GB" sz="1000" b="0" i="0" u="none" strike="noStrike" kern="1200">
                <a:solidFill>
                  <a:schemeClr val="tx1"/>
                </a:solidFill>
                <a:effectLst/>
                <a:ea typeface="Meiryo UI"/>
                <a:cs typeface="Times New Roman" panose="02020603050405020304" pitchFamily="18" charset="0"/>
              </a:rPr>
              <a:t/>
            </a:r>
            <a:r>
              <a:rPr lang="en-GB" sz="1000">
                <a:ea typeface="Meiryo UI"/>
                <a:cs typeface="Times New Roman" panose="02020603050405020304" pitchFamily="18" charset="0"/>
              </a:rPr>
              <a:t/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7DE019CB-9483-0BE1-223C-3038AE78E61E}"/>
              </a:ext>
            </a:extLst>
          </p:cNvPr>
          <p:cNvSpPr/>
          <p:nvPr/>
        </p:nvSpPr>
        <p:spPr>
          <a:xfrm>
            <a:off x="3182170" y="4556314"/>
            <a:ext cx="3091630" cy="877342"/>
          </a:xfrm>
          <a:prstGeom prst="wedgeRectCallout">
            <a:avLst>
              <a:gd name="adj1" fmla="val -21172"/>
              <a:gd name="adj2" fmla="val -71583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/>
            </a:r>
          </a:p>
        </p:txBody>
      </p:sp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EA116CC0-BD6D-FD6E-2253-753FC1ABEE3E}"/>
              </a:ext>
            </a:extLst>
          </p:cNvPr>
          <p:cNvSpPr/>
          <p:nvPr/>
        </p:nvSpPr>
        <p:spPr>
          <a:xfrm>
            <a:off x="1618400" y="2616476"/>
            <a:ext cx="5695871" cy="529308"/>
          </a:xfrm>
          <a:prstGeom prst="wedgeRectCallout">
            <a:avLst>
              <a:gd name="adj1" fmla="val 61035"/>
              <a:gd name="adj2" fmla="val 50041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/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7DA16641-FD41-28CC-9F67-7C8D54655ED0}"/>
              </a:ext>
            </a:extLst>
          </p:cNvPr>
          <p:cNvSpPr/>
          <p:nvPr/>
        </p:nvSpPr>
        <p:spPr>
          <a:xfrm>
            <a:off x="7161607" y="4067153"/>
            <a:ext cx="2572987" cy="747919"/>
          </a:xfrm>
          <a:prstGeom prst="wedgeRectCallout">
            <a:avLst>
              <a:gd name="adj1" fmla="val 24448"/>
              <a:gd name="adj2" fmla="val -87191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/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3B2FC811-B696-A24C-CB17-F42C1FE21D10}"/>
              </a:ext>
            </a:extLst>
          </p:cNvPr>
          <p:cNvSpPr/>
          <p:nvPr/>
        </p:nvSpPr>
        <p:spPr>
          <a:xfrm>
            <a:off x="9050994" y="1818952"/>
            <a:ext cx="2572987" cy="698347"/>
          </a:xfrm>
          <a:prstGeom prst="wedgeRectCallout">
            <a:avLst>
              <a:gd name="adj1" fmla="val 32370"/>
              <a:gd name="adj2" fmla="val 89148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/>
            </a:r>
          </a:p>
        </p:txBody>
      </p:sp>
    </p:spTree>
    <p:extLst>
      <p:ext uri="{BB962C8B-B14F-4D97-AF65-F5344CB8AC3E}">
        <p14:creationId xmlns:p14="http://schemas.microsoft.com/office/powerpoint/2010/main" val="27014602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C629C-E6F2-FA2C-0CE1-CEDD5AD954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511BA20-5585-CD7C-150B-3B71C4E37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0B1F0BC-EBED-0400-7A0D-0085EFDE2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8867380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Competitive Landscape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/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56369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Japanese Player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Japanese players validate demand and prove partner-led entry pathways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Compan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Entry Year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Mod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Description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Osaka Ga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JV-led entry, strong partner model, visible project execution capability. Revenue: $12B+. Market share: Early mover in LNG and C&amp;I decarbonization pilots. Company type: Japanese utility. Company type: Japanese utility.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ERA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cale advantage in project finance and procurement discipline. Revenue: $20B+. Market share: Large-scale generation and fuel strategy footprint. Company type: Japanese power/LNG. Company type: Japanese power/LNG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Tokyo Ga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Technically strong, focused market selection approach. Revenue: $15B+. Market share: Selective LNG and infrastructure partnerships. Company type: Japanese gas utility. Company type: Japanese gas utility.</a:t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Competitive Insights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Japanese players validate demand and prove partner-led entry pathways. | 3 players identified | Leader: Osaka Gas (Early mover in LNG and C&amp;I decarbonization pilots)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Major Local Player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E-linked concentration remains a structural factor in market access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Compan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Typ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Revenu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Description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PetroVietnam (PVN)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State-owned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25B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Critical relationship stakeholder for gas-linked entry models. Revenue: $25B. Market share: Dominant upstream and gas chain influence. Company type: State-owned. Company type: State-owned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EVN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tate utility</a:t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$15B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Sets practical constraints on capacity absorption and dispatch. Revenue: $15B. Market share: Grid and power market control. Company type: State utility. Company type: State utility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PV Power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OE affiliat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$2B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Potential partner or competitive benchmark depending on segment. Revenue: $2B. Market share: Meaningful gas-fired generation role. Company type: SOE affiliate. Company type: SOE affiliate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Competitive Insight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OE-linked concentration remains a structural factor in market access. | 3 players identified | Leader: PetroVietnam (PVN) (Dominant upstream and gas chain influence)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Foreign Player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Global entrants are selective; execution depth and local delivery quality remain key differentiators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Compan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Origin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Mod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Description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TotalEnergie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Global capital strength but selective local execution footprint. Revenue: $200B+. Market share: Selective clean-energy projects and partnerships. Company type: International major. Company type: International major.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ell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trong fuel portfolio but partner-dependent local route-to-market. Revenue: $250B+. Market share: LNG and downstream optionality. Company type: International major. Company type: International major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Competitive Insight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Global entrants are selective; execution depth and local delivery quality remain key differentiators. | 2 players identified | Leader: TotalEnergies (Selective clean-energy projects and partnerships)</a:t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D9D6B-F783-A97D-9529-6F717AA41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7AF51B6-52AB-CE56-2F90-4F8F72A15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ea typeface="+mj-lt"/>
                <a:cs typeface="+mj-lt"/>
              </a:rPr>
              <a:t>Vietnam - Entry Case Study</a:t>
            </a:r>
            <a:br>
              <a:rPr lang="en-US">
                <a:ea typeface="+mj-lt"/>
                <a:cs typeface="+mj-lt"/>
              </a:rPr>
            </a:br>
            <a:r>
              <a:rPr lang="en-US" sz="1600">
                <a:ea typeface="+mj-lt"/>
                <a:cs typeface="+mj-lt"/>
              </a:rPr>
              <a:t>Source: YCP Analysis</a:t>
            </a:r>
            <a:r>
              <a:rPr lang="en-US" sz="1600"/>
              <a:t>Company</a:t>
            </a:r>
            <a:endParaRPr lang="en-US" sz="1600">
              <a:ea typeface="+mj-lt"/>
              <a:cs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EECA01-B633-AAC4-0CAE-C5516488F56A}"/>
              </a:ext>
            </a:extLst>
          </p:cNvPr>
          <p:cNvSpPr txBox="1"/>
          <p:nvPr/>
        </p:nvSpPr>
        <p:spPr>
          <a:xfrm>
            <a:off x="340272" y="6095476"/>
            <a:ext cx="11516765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000">
                <a:ea typeface="Meiryo UI"/>
                <a:cs typeface="Times New Roman"/>
              </a:rPr>
              <a:t>Osaka Gas</a:t>
            </a:r>
            <a:r>
              <a:rPr lang="en-US" sz="1000">
                <a:sym typeface="Wingdings"/>
              </a:rPr>
              <a:t>Entry Mode</a:t>
            </a:r>
          </a:p>
          <a:p>
            <a:r>
              <a:rPr lang="en-GB" sz="1000">
                <a:ea typeface="Meiryo UI"/>
                <a:cs typeface="Times New Roman"/>
              </a:rPr>
              <a:t>JV + distributed energy projects</a:t>
            </a:r>
            <a:r>
              <a:rPr kumimoji="1" lang="en-GB" sz="1000" b="0" i="0" u="none" strike="noStrike" kern="1200">
                <a:effectLst/>
                <a:ea typeface="Meiryo UI"/>
                <a:cs typeface="Times New Roman"/>
              </a:rPr>
              <a:t>Outcome</a:t>
            </a:r>
            <a:r>
              <a:rPr lang="en-GB" sz="1000">
                <a:ea typeface="Meiryo UI"/>
                <a:cs typeface="Times New Roman"/>
              </a:rPr>
              <a:t>Scaled to multiple industrial sites with long-term contracts</a:t>
            </a:r>
            <a:endParaRPr lang="en-MY" sz="1000">
              <a:ea typeface="Yu mincho"/>
              <a:cs typeface="Times New Roman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E613AC3-DD7A-B0F8-DA9A-1346DF8CD5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765620"/>
              </p:ext>
            </p:extLst>
          </p:nvPr>
        </p:nvGraphicFramePr>
        <p:xfrm>
          <a:off x="335280" y="1341437"/>
          <a:ext cx="11516765" cy="4751389"/>
        </p:xfrm>
        <a:graphic>
          <a:graphicData uri="http://schemas.openxmlformats.org/drawingml/2006/table">
            <a:tbl>
              <a:tblPr/>
              <a:tblGrid>
                <a:gridCol w="964131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2638158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  <a:gridCol w="2638159">
                  <a:extLst>
                    <a:ext uri="{9D8B030D-6E8A-4147-A177-3AD203B41FA5}">
                      <a16:colId xmlns:a16="http://schemas.microsoft.com/office/drawing/2014/main" val="3174331982"/>
                    </a:ext>
                  </a:extLst>
                </a:gridCol>
                <a:gridCol w="2638159">
                  <a:extLst>
                    <a:ext uri="{9D8B030D-6E8A-4147-A177-3AD203B41FA5}">
                      <a16:colId xmlns:a16="http://schemas.microsoft.com/office/drawing/2014/main" val="851009789"/>
                    </a:ext>
                  </a:extLst>
                </a:gridCol>
                <a:gridCol w="2638158">
                  <a:extLst>
                    <a:ext uri="{9D8B030D-6E8A-4147-A177-3AD203B41FA5}">
                      <a16:colId xmlns:a16="http://schemas.microsoft.com/office/drawing/2014/main" val="1481112521"/>
                    </a:ext>
                  </a:extLst>
                </a:gridCol>
              </a:tblGrid>
              <a:tr h="50992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Key Factor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219075" marR="0" lvl="0" indent="-219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"/>
                          <a:ea typeface="Yu mincho"/>
                          <a:cs typeface="+mn-cs"/>
                        </a:rPr>
                        <a:t>Local partner access + clear value proposition for Japanese manufacturers</a:t>
                      </a: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sson 1</a:t>
                      </a:r>
                    </a:p>
                    <a:p>
                      <a:pPr marL="219075" marR="0" lvl="0" indent="-219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partner-led access to shorten commercial and regulatory cycle time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5099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sson 2</a:t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chor early pipeline with Japanese FDI accounts requiring decarbonization support.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509920"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sson 3</a:t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ign contracts around measurable savings and delivery reliability.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600225"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kumimoji="1" 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kumimoji="1" lang="en-US" alt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kumimoji="1" 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lang="en-US" sz="1400" b="0">
                        <a:solidFill>
                          <a:schemeClr val="tx1"/>
                        </a:solidFill>
                        <a:latin typeface="+mj-lt"/>
                        <a:ea typeface="+mn-lt"/>
                        <a:cs typeface="+mn-lt"/>
                      </a:endParaRP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lang="en-US" sz="1400" b="0">
                        <a:solidFill>
                          <a:schemeClr val="tx1"/>
                        </a:solidFill>
                        <a:latin typeface="+mj-lt"/>
                        <a:ea typeface="+mn-lt"/>
                        <a:cs typeface="+mn-lt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198545"/>
                  </a:ext>
                </a:extLst>
              </a:tr>
              <a:tr h="211148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  <a:r>
                        <a:rPr lang="en-US" sz="1400">
                          <a:sym typeface="Wingding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  <a:endParaRPr kumimoji="1" 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  <a:r>
                        <a:rPr lang="en-US" sz="1400">
                          <a:sym typeface="Wingdings"/>
                        </a:rPr>
                        <a:t/>
                      </a: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  <a:endParaRPr kumimoji="1" 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ea typeface="+mn-lt"/>
                          <a:cs typeface="+mn-lt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ea typeface="+mn-lt"/>
                          <a:cs typeface="+mn-lt"/>
                        </a:rPr>
                        <a:t/>
                      </a: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50992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1" lang="en-US" altLang="ja-JP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</a:tbl>
          </a:graphicData>
        </a:graphic>
      </p:graphicFrame>
      <p:sp>
        <p:nvSpPr>
          <p:cNvPr id="16" name="AutoShape 22">
            <a:extLst>
              <a:ext uri="{FF2B5EF4-FFF2-40B4-BE49-F238E27FC236}">
                <a16:creationId xmlns:a16="http://schemas.microsoft.com/office/drawing/2014/main" id="{8F44BA11-D599-FDD6-1D51-7429199BF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9803" y="2933616"/>
            <a:ext cx="2682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  <p:sp>
        <p:nvSpPr>
          <p:cNvPr id="18" name="AutoShape 22">
            <a:extLst>
              <a:ext uri="{FF2B5EF4-FFF2-40B4-BE49-F238E27FC236}">
                <a16:creationId xmlns:a16="http://schemas.microsoft.com/office/drawing/2014/main" id="{9431E6F2-6D83-FFC2-F616-CDC0B65A8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3680" y="2933616"/>
            <a:ext cx="2682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  <p:sp>
        <p:nvSpPr>
          <p:cNvPr id="27" name="AutoShape 22">
            <a:extLst>
              <a:ext uri="{FF2B5EF4-FFF2-40B4-BE49-F238E27FC236}">
                <a16:creationId xmlns:a16="http://schemas.microsoft.com/office/drawing/2014/main" id="{95205CA5-660B-FF58-825B-31488933A3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7558" y="2933616"/>
            <a:ext cx="2682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  <p:sp>
        <p:nvSpPr>
          <p:cNvPr id="28" name="AutoShape 22">
            <a:extLst>
              <a:ext uri="{FF2B5EF4-FFF2-40B4-BE49-F238E27FC236}">
                <a16:creationId xmlns:a16="http://schemas.microsoft.com/office/drawing/2014/main" id="{8DBF6228-F85C-0F0A-D1CC-9D21ED03A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1436" y="2933616"/>
            <a:ext cx="2682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3711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M&amp;A Activit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Energy services/platform assets typically transact on strategic premium logic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Recent Transaction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Year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Buyer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Target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Valu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Rationale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/A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Regional infrastructure fund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Industrial energy services platform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$120M (indicative)</a:t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Platform build-out and recurring service cashflows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M&amp;A Insight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Multiples: Energy services/platform assets typically transact on strategic premium logic. | 1 recent deals identified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45CFD-55BE-D7BA-A8CB-3794F9FA58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9669B6-619D-3B29-5134-F512E51A0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F27B3EE-3026-A89C-AC40-A49A7DE2A5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855049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Strategic Analysi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/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704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0B744-3E21-5553-3E1E-98FFB07FA5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17CB9D-0696-3855-80A0-120F430D8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D03205A-B044-AAD9-2103-18C5754375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027054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Vietnam | Recommendation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Policy &amp; Regulatory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Market Overview | Appendix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Competitive Landscape</a:t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Strategic Analysi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9891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Deal Economics</a:t>
            </a:r>
            <a:br>
              <a:rPr lang="en-US"/>
            </a:br>
            <a:r>
              <a:rPr lang="en-US" sz="1600"/>
              <a:t>JV-led entry balances speed and risk; value capture improves when contracts lock measurable outcomes.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Metric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Value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Note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ypical Deal Size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$8M-$10M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Avg: $8M-$10M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al Economic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Avg Deal: $8M-$10M | JV-led entry balances speed and risk; value capture improves when contracts lock measurable outcomes.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/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/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Partner Assessment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Industrial platform or trading-house-linked partner with local execution depth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Compan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Typ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Revenu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Partnership Fit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Acquisition Fit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Description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dustrial Partner A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Local industrial platform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$1B+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5/5</a:t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3/5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Strong site access and operating footprint in priority zones. Revenue: $1B+. Company type: Local industrial platform. Partnership fit: 5/5. Acquisition fit: 3/5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Trading Partner B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Regional trading house affiliat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$2B+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4/5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/5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trong procurement and customer interface capability. Revenue: $2B+. Company type: Regional trading house affiliate. Partnership fit: 4/5. Acquisition fit: 2/5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Competitive Insight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Top Pick: Industrial platform or trading-house-linked partner with local execution depth | 2 players identified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Entry Strategy Options</a:t>
            </a:r>
            <a:br>
              <a:rPr lang="en-US"/>
            </a:br>
            <a:r>
              <a:rPr lang="en-US" sz="1600"/>
              <a:t>Phase-1 JV entry with staged capital and pilot-led commercialization.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Option | High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Timeline | $20-50M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Investment | + Clean build + Tech-led design + No legacy integration burde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Control | Greenfield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Risk | 18-24 months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Pros | $50-150M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ns | High control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Joint Venture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>6-12 months | Strategy Insight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$10-30M | 24-36 months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ared control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>Medium | + Immediate footprint + Installed team + Existing contract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+ Fast market access + Relationship leverage + Lower regulatory friction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Acquisition | Recommended: Phase-1 JV entry with staged capital and pilot-led commercialization. | 3 entry options analyzed | Fastest: Joint Venture (6-12 months)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71AC9F-9267-3869-D9AE-7D0ABBD49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9762AF0-2D08-56B0-60EB-E879B36C8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ea typeface="+mj-lt"/>
                <a:cs typeface="+mj-lt"/>
              </a:rPr>
              <a:t>Vietnam - Implementation Roadmap</a:t>
            </a:r>
            <a:br>
              <a:rPr lang="en-US" sz="1600">
                <a:ea typeface="+mj-lt"/>
                <a:cs typeface="+mj-lt"/>
              </a:rPr>
            </a:br>
            <a:r>
              <a:rPr lang="en-US" sz="1600"/>
              <a:t>Total: $10M-$30M (Phase 1) | Breakeven: 30-36 months (target)</a:t>
            </a:r>
            <a:endParaRPr lang="en-US" sz="1200">
              <a:ea typeface="+mj-lt"/>
              <a:cs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09563-AEE8-3904-179C-16F8145074F6}"/>
              </a:ext>
            </a:extLst>
          </p:cNvPr>
          <p:cNvSpPr txBox="1"/>
          <p:nvPr/>
        </p:nvSpPr>
        <p:spPr>
          <a:xfrm>
            <a:off x="340272" y="6095476"/>
            <a:ext cx="11516765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000">
                <a:ea typeface="Meiryo UI"/>
                <a:cs typeface="Times New Roman"/>
              </a:rPr>
              <a:t>Source: YCP Analysis</a:t>
            </a:r>
            <a:r>
              <a:rPr kumimoji="1" lang="en-GB" sz="1000" b="0" i="0" u="none" strike="noStrike" kern="1200">
                <a:effectLst/>
                <a:ea typeface="Meiryo UI"/>
                <a:cs typeface="Times New Roman"/>
              </a:rPr>
              <a:t>Roadmap Summary</a:t>
            </a:r>
            <a:r>
              <a:rPr lang="en-GB" sz="1000">
                <a:ea typeface="Meiryo UI"/>
                <a:cs typeface="Times New Roman"/>
              </a:rPr>
              <a:t>Total investment: $10M-$30M (Phase 1)</a:t>
            </a:r>
            <a:r>
              <a:rPr kumimoji="1" lang="en-GB" sz="1000" b="0" i="0" u="none" strike="noStrike" kern="1200">
                <a:effectLst/>
                <a:ea typeface="Meiryo UI"/>
                <a:cs typeface="Times New Roman"/>
              </a:rPr>
              <a:t>Breakeven: 30-36 months (target)</a:t>
            </a:r>
            <a:r>
              <a:rPr lang="en-GB" sz="1000">
                <a:ea typeface="Meiryo UI"/>
                <a:cs typeface="Times New Roman"/>
              </a:rPr>
              <a:t>Phase 1</a:t>
            </a:r>
            <a:endParaRPr lang="en-MY" sz="1000">
              <a:ea typeface="Yu mincho"/>
              <a:cs typeface="Times New Roman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7308A92-069C-5581-DB72-953390C21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145667"/>
              </p:ext>
            </p:extLst>
          </p:nvPr>
        </p:nvGraphicFramePr>
        <p:xfrm>
          <a:off x="335280" y="1341437"/>
          <a:ext cx="11508811" cy="4751386"/>
        </p:xfrm>
        <a:graphic>
          <a:graphicData uri="http://schemas.openxmlformats.org/drawingml/2006/table">
            <a:tbl>
              <a:tblPr/>
              <a:tblGrid>
                <a:gridCol w="976162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3510883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  <a:gridCol w="3510883">
                  <a:extLst>
                    <a:ext uri="{9D8B030D-6E8A-4147-A177-3AD203B41FA5}">
                      <a16:colId xmlns:a16="http://schemas.microsoft.com/office/drawing/2014/main" val="3174331982"/>
                    </a:ext>
                  </a:extLst>
                </a:gridCol>
                <a:gridCol w="3510883">
                  <a:extLst>
                    <a:ext uri="{9D8B030D-6E8A-4147-A177-3AD203B41FA5}">
                      <a16:colId xmlns:a16="http://schemas.microsoft.com/office/drawing/2014/main" val="1481112521"/>
                    </a:ext>
                  </a:extLst>
                </a:gridCol>
              </a:tblGrid>
              <a:tr h="654881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Timeline: 0-6 month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19075" marR="0" lvl="0" indent="-219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hase 2</a:t>
                      </a: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Timeline: 6-18 months</a:t>
                      </a: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hase 3</a:t>
                      </a:r>
                    </a:p>
                    <a:p>
                      <a:pPr marL="219075" marR="0" lvl="0" indent="-219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meline: 18-36 month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65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6587"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/>
                      </a:r>
                      <a:endParaRPr kumimoji="1" lang="en-US" altLang="ja-JP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520197"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kumimoji="1" 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kumimoji="1" lang="en-US" altLang="ja-JP" sz="14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lang="en-US" sz="1400" b="0">
                        <a:solidFill>
                          <a:schemeClr val="tx1"/>
                        </a:solidFill>
                        <a:latin typeface="+mj-lt"/>
                        <a:ea typeface="+mn-lt"/>
                        <a:cs typeface="+mn-lt"/>
                      </a:endParaRP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endParaRPr lang="en-US" sz="1400" b="0">
                        <a:solidFill>
                          <a:schemeClr val="tx1"/>
                        </a:solidFill>
                        <a:latin typeface="+mj-lt"/>
                        <a:ea typeface="+mn-lt"/>
                        <a:cs typeface="+mn-lt"/>
                      </a:endParaRP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198545"/>
                  </a:ext>
                </a:extLst>
              </a:tr>
              <a:tr h="204825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kumimoji="1" lang="en-US" altLang="ja-JP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ea"/>
                          <a:cs typeface="+mn-cs"/>
                        </a:rPr>
                        <a:t/>
                      </a: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ea typeface="+mn-lt"/>
                          <a:cs typeface="+mn-lt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ea typeface="+mn-lt"/>
                          <a:cs typeface="+mn-lt"/>
                        </a:rPr>
                        <a:t/>
                      </a:r>
                    </a:p>
                    <a:p>
                      <a:pPr marL="219075" indent="-219075">
                        <a:buSzPct val="100000"/>
                        <a:buFont typeface="Wingdings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ea typeface="+mn-lt"/>
                          <a:cs typeface="+mn-lt"/>
                        </a:rPr>
                        <a:t/>
                      </a:r>
                    </a:p>
                  </a:txBody>
                  <a:tcPr marL="36000" marR="36000" marT="36000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65488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altLang="ja-JP" sz="1400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</a:tbl>
          </a:graphicData>
        </a:graphic>
      </p:graphicFrame>
      <p:sp>
        <p:nvSpPr>
          <p:cNvPr id="10" name="AutoShape 22">
            <a:extLst>
              <a:ext uri="{FF2B5EF4-FFF2-40B4-BE49-F238E27FC236}">
                <a16:creationId xmlns:a16="http://schemas.microsoft.com/office/drawing/2014/main" id="{4F828A1C-4021-B00E-FDD2-F6D44E45B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1660" y="2909552"/>
            <a:ext cx="3600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  <p:sp>
        <p:nvSpPr>
          <p:cNvPr id="12" name="AutoShape 22">
            <a:extLst>
              <a:ext uri="{FF2B5EF4-FFF2-40B4-BE49-F238E27FC236}">
                <a16:creationId xmlns:a16="http://schemas.microsoft.com/office/drawing/2014/main" id="{F777696C-79F7-5CDF-8098-FE2827661A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48" y="2909552"/>
            <a:ext cx="3600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  <p:sp>
        <p:nvSpPr>
          <p:cNvPr id="14" name="AutoShape 22">
            <a:extLst>
              <a:ext uri="{FF2B5EF4-FFF2-40B4-BE49-F238E27FC236}">
                <a16:creationId xmlns:a16="http://schemas.microsoft.com/office/drawing/2014/main" id="{A42D660B-E7C4-CB41-361C-3FFCA5C0C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1436" y="2909552"/>
            <a:ext cx="3600000" cy="481979"/>
          </a:xfrm>
          <a:prstGeom prst="homePlate">
            <a:avLst>
              <a:gd name="adj" fmla="val 24229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/>
          <a:lstStyle/>
          <a:p>
            <a:pPr marL="91440" lvl="1"/>
            <a:r>
              <a:rPr lang="en-US" altLang="ja-JP" sz="1400">
                <a:solidFill>
                  <a:schemeClr val="bg1"/>
                </a:solidFill>
                <a:ea typeface="+mn-lt"/>
                <a:cs typeface="+mn-lt"/>
              </a:rPr>
              <a:t/>
            </a:r>
            <a:endParaRPr lang="en-US" altLang="ja-JP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3161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BECB9-F480-95A2-F6F7-F479AEDF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70F4BB-124A-A0AE-C14B-E3CB494DE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133886"/>
              </p:ext>
            </p:extLst>
          </p:nvPr>
        </p:nvGraphicFramePr>
        <p:xfrm>
          <a:off x="335280" y="1341437"/>
          <a:ext cx="11521758" cy="4751384"/>
        </p:xfrm>
        <a:graphic>
          <a:graphicData uri="http://schemas.openxmlformats.org/drawingml/2006/table">
            <a:tbl>
              <a:tblPr/>
              <a:tblGrid>
                <a:gridCol w="1217215">
                  <a:extLst>
                    <a:ext uri="{9D8B030D-6E8A-4147-A177-3AD203B41FA5}">
                      <a16:colId xmlns:a16="http://schemas.microsoft.com/office/drawing/2014/main" val="3702341498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287175336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1447588822"/>
                    </a:ext>
                  </a:extLst>
                </a:gridCol>
                <a:gridCol w="978192">
                  <a:extLst>
                    <a:ext uri="{9D8B030D-6E8A-4147-A177-3AD203B41FA5}">
                      <a16:colId xmlns:a16="http://schemas.microsoft.com/office/drawing/2014/main" val="2175933245"/>
                    </a:ext>
                  </a:extLst>
                </a:gridCol>
                <a:gridCol w="1504655">
                  <a:extLst>
                    <a:ext uri="{9D8B030D-6E8A-4147-A177-3AD203B41FA5}">
                      <a16:colId xmlns:a16="http://schemas.microsoft.com/office/drawing/2014/main" val="2876008597"/>
                    </a:ext>
                  </a:extLst>
                </a:gridCol>
                <a:gridCol w="2412374">
                  <a:extLst>
                    <a:ext uri="{9D8B030D-6E8A-4147-A177-3AD203B41FA5}">
                      <a16:colId xmlns:a16="http://schemas.microsoft.com/office/drawing/2014/main" val="842565704"/>
                    </a:ext>
                  </a:extLst>
                </a:gridCol>
                <a:gridCol w="795649">
                  <a:extLst>
                    <a:ext uri="{9D8B030D-6E8A-4147-A177-3AD203B41FA5}">
                      <a16:colId xmlns:a16="http://schemas.microsoft.com/office/drawing/2014/main" val="2244637599"/>
                    </a:ext>
                  </a:extLst>
                </a:gridCol>
                <a:gridCol w="2657289">
                  <a:extLst>
                    <a:ext uri="{9D8B030D-6E8A-4147-A177-3AD203B41FA5}">
                      <a16:colId xmlns:a16="http://schemas.microsoft.com/office/drawing/2014/main" val="4212092130"/>
                    </a:ext>
                  </a:extLst>
                </a:gridCol>
              </a:tblGrid>
              <a:tr h="431944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+mj-lt"/>
                        </a:rPr>
                        <a:t>Vietnam - Target Segment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tart with Japanese FDI-heavy industrial clusters, then expand to broader C&amp;I accounts.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ource: YCP Analysi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egment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Siz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Market Intensit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Decision Maker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US" sz="1400">
                          <a:solidFill>
                            <a:schemeClr val="bg1"/>
                          </a:solidFill>
                          <a:latin typeface="+mj-lt"/>
                        </a:rPr>
                        <a:t>Priority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kumimoji="1" lang="en-GB" sz="1400" b="0" i="0" u="none" strike="noStrike" noProof="0">
                          <a:solidFill>
                            <a:schemeClr val="bg1"/>
                          </a:solidFill>
                          <a:latin typeface="+mj-lt"/>
                        </a:rPr>
                        <a:t>High-value anchor segment</a:t>
                      </a:r>
                      <a:endParaRPr kumimoji="1" lang="en-US" sz="140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380367"/>
                  </a:ext>
                </a:extLst>
              </a:tr>
              <a:tr h="431944">
                <a:tc rowSpan="3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arge but selective</a:t>
                      </a: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6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Market Approach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Start with Japanese FDI-heavy industrial clusters, then expand to broader C&amp;I accounts. | 2 target segments identified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kumimoji="1" lang="en-US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266436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17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892759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4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  <a:r>
                        <a:rPr lang="en-US" sz="1400" b="0" baseline="3000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858034"/>
                  </a:ext>
                </a:extLst>
              </a:tr>
              <a:tr h="43194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19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i="0" u="none" strike="noStrike" noProof="0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63921"/>
                  </a:ext>
                </a:extLst>
              </a:tr>
              <a:tr h="43194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>2021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  <a:r>
                        <a:rPr lang="en-US" sz="1400" b="0" err="1">
                          <a:latin typeface="+mj-lt"/>
                        </a:rPr>
                        <a:t/>
                      </a:r>
                      <a:endParaRPr lang="en-US" sz="1400" b="0">
                        <a:latin typeface="+mj-lt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>
                          <a:latin typeface="+mj-lt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3948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2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1570303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>2020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664266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922824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sz="1400" b="0" i="0" u="none" strike="noStrike" kern="1200" noProof="0">
                        <a:solidFill>
                          <a:srgbClr val="242424"/>
                        </a:solidFill>
                        <a:effectLst/>
                        <a:latin typeface="+mj-lt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609190"/>
                  </a:ext>
                </a:extLst>
              </a:tr>
              <a:tr h="43194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ja-JP" sz="14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r>
                        <a:rPr lang="en-US" sz="14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+mj-lt"/>
                        </a:rPr>
                        <a:t/>
                      </a:r>
                      <a:endParaRPr kumimoji="1" lang="en-US" altLang="ja-JP" sz="140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Yu mincho"/>
                        <a:cs typeface="+mn-cs"/>
                        <a:sym typeface="Wingding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Yu mincho"/>
                          <a:cs typeface="+mn-cs"/>
                          <a:sym typeface="Wingdings"/>
                        </a:rPr>
                        <a:t/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14870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61ADD9E-6DE2-EB1B-AF6A-0785B7A73F37}"/>
              </a:ext>
            </a:extLst>
          </p:cNvPr>
          <p:cNvSpPr/>
          <p:nvPr/>
        </p:nvSpPr>
        <p:spPr>
          <a:xfrm>
            <a:off x="338069" y="6114409"/>
            <a:ext cx="11514415" cy="2308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en-US" sz="1000">
                <a:solidFill>
                  <a:schemeClr val="tx1"/>
                </a:solidFill>
              </a:rPr>
              <a:t/>
            </a:r>
          </a:p>
          <a:p>
            <a:r>
              <a:rPr lang="en-US" sz="1000">
                <a:solidFill>
                  <a:schemeClr val="tx1"/>
                </a:solidFill>
              </a:rPr>
              <a:t/>
            </a:r>
            <a:r>
              <a:rPr lang="en-US" sz="1000" err="1">
                <a:solidFill>
                  <a:schemeClr val="tx1"/>
                </a:solidFill>
              </a:rPr>
              <a:t/>
            </a:r>
            <a:endParaRPr lang="en-US" sz="10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2D2D8C-3193-223F-BDDD-CE95415B1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73" y="44624"/>
            <a:ext cx="11508811" cy="831850"/>
          </a:xfrm>
        </p:spPr>
        <p:txBody>
          <a:bodyPr/>
          <a:lstStyle/>
          <a:p>
            <a:r>
              <a:rPr lang="en-US" sz="2000">
                <a:cs typeface="Segoe UI"/>
              </a:rPr>
              <a:t/>
            </a:r>
            <a:br>
              <a:rPr lang="en-US">
                <a:cs typeface="Segoe UI"/>
              </a:rPr>
            </a:br>
            <a:r>
              <a:rPr lang="en-US" sz="1600"/>
              <a:t/>
            </a:r>
            <a:endParaRPr lang="en-US" altLang="ja-JP"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CDBA8B-C630-9C51-B72D-0F5BCADB8861}"/>
              </a:ext>
            </a:extLst>
          </p:cNvPr>
          <p:cNvSpPr/>
          <p:nvPr/>
        </p:nvSpPr>
        <p:spPr>
          <a:xfrm>
            <a:off x="334963" y="3068054"/>
            <a:ext cx="11522075" cy="818146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AA1F8D-2D66-D6A6-C6AD-A197D981468D}"/>
              </a:ext>
            </a:extLst>
          </p:cNvPr>
          <p:cNvSpPr/>
          <p:nvPr/>
        </p:nvSpPr>
        <p:spPr>
          <a:xfrm>
            <a:off x="330409" y="3942090"/>
            <a:ext cx="11522075" cy="42110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00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45CFD-55BE-D7BA-A8CB-3794F9FA58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9669B6-619D-3B29-5134-F512E51A0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F27B3EE-3026-A89C-AC40-A49A7DE2A5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855049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Recommendation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/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7041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Go/No-Go Assessment</a:t>
            </a:r>
            <a:br>
              <a:rPr lang="en-US"/>
            </a:br>
            <a:r>
              <a:rPr lang="en-US" sz="1600"/>
              <a:t>GO (phased, partner-led)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Criterio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Status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Evidence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Market attractivenes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?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Execution feasibility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isk-adjusted retur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VERDICT: GO (phased, partner-led)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/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/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Opportunities &amp; Obstacles</a:t>
            </a:r>
            <a:br>
              <a:rPr lang="en-US"/>
            </a:br>
            <a:r>
              <a:rPr lang="en-US" sz="1600"/>
              <a:t>Proceed with phased JV-led entry. Start with Japanese FDI industrial pilots, prove measurable savings, then scale into broader C&amp;I segments.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Opportunitie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Industrial demand growth remains high, creating persistent efficiency and fuel-switch demand.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PDP8 creates a multi-year capacity and transition investment window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Japanese manufacturers in Vietnam have direct decarbonization mandates from HQ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LNG and C&amp;I service models still have whitespace for disciplined entrants.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Obstacles &amp; Risk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OE influence shapes access and sequencing in core parts of the value chain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Regulatory interpretation can vary by project structure and location.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>Grid constraints and permit sequencing can delay monetization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Competition is increasing among regional and global players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ttractiveness: 8/10 | Feasibility: 7/10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>Attractiveness: Demand tailwinds, policy support, and clear customer pain points support market attractiveness. | Feasibility: Execution is feasible with disciplined partner selection and phased entry sequencing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Strategic Recommendation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Key Insights</a:t>
            </a:r>
            <a:br>
              <a:rPr lang="en-US"/>
            </a:br>
            <a:r>
              <a:rPr lang="en-US" sz="1600"/>
              <a:t>Strategic implications for market entry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Why now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Demand growth + policy transition create a strong timing window for focused entrants.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So what: Entrants with local delivery partnerships convert faster than direct greenfield attempts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Action: Lead with a JV model and pilot-based proof points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Where to win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Japanese FDI and energy-intensive C&amp;I provide the best near-term conversion path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o what: Accounts with HQ decarbonization pressure make faster decisions on efficiency solutions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Action: Build first-wave pipeline around these segments before broad expansion.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>How to de-risk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Contract design and partner governance are the key protectors of delivery quality and margin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o what: Performance-linked structures align incentives and improve renewal probability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>Action: Prioritize outcome-based commercial structures from day one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RECOMMENDATION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Proceed with phased JV-led entry. Start with Japanese FDI industrial pilots, prove measurable savings, then scale into broader C&amp;I segments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Why Now</a:t>
            </a:r>
            <a:br>
              <a:rPr lang="en-US"/>
            </a:br>
            <a:r>
              <a:rPr lang="en-US" sz="1600"/>
              <a:t>18-24 month window before segment crowding materially increases.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Trigger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Impact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Action Required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DP8-linked project acceleratio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More projects reaching execution stage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Secure partner channel capacity early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dustrial tariff and fuel pressure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Higher customer urgency for savings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>Position performance-backed offering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Rising competitor activity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Faster capture race in priority clusters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>Lock lighthouse customers with pilot pipeline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WINDOW OF OPPORTUNITY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16919-4027-865A-EFC5-73537CEC30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DFF9F-24AA-324C-B352-1E91B5397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KH"/>
              <a:t>Executive Summa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C6851A-7211-13A2-A43D-2E1A34128A06}"/>
              </a:ext>
            </a:extLst>
          </p:cNvPr>
          <p:cNvSpPr txBox="1"/>
          <p:nvPr/>
        </p:nvSpPr>
        <p:spPr>
          <a:xfrm>
            <a:off x="334962" y="1371600"/>
            <a:ext cx="11508811" cy="46166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fontAlgn="base"/>
            <a:r>
              <a:rPr lang="en-US" sz="1400"/>
              <a:t>- Vietnam offers a credible near-term entry window for Energy Services, but success depends on execution discipline rather than market potential alone.</a:t>
            </a:r>
          </a:p>
          <a:p>
            <a:pPr fontAlgn="base"/>
            <a:endParaRPr lang="en-US" sz="1400">
              <a:highlight>
                <a:srgbClr val="FFFF00"/>
              </a:highlight>
              <a:cs typeface="Segoe UI"/>
            </a:endParaRPr>
          </a:p>
          <a:p>
            <a:pPr fontAlgn="base"/>
            <a:r>
              <a:rPr lang="en-US" sz="1400"/>
              <a:t>- Partner-led access and pilot-first commercialization outperform direct standalone entry in speed and conversion quality.</a:t>
            </a:r>
            <a:r>
              <a:rPr lang="en-US" sz="1400">
                <a:hlinkClick r:id="rId2" action="ppaction://hlinksldjump"/>
              </a:rPr>
              <a:t>- Prioritize segments with clear economic pain and HQ-linked decarbonization mandates to accelerate decision cycles.</a:t>
            </a:r>
            <a:r>
              <a:rPr lang="en-US" sz="1400"/>
              <a:t>- A phased JV model balances speed, risk, and capital efficiency while preserving expansion optionality.</a:t>
            </a:r>
          </a:p>
          <a:p>
            <a:pPr fontAlgn="base"/>
            <a:endParaRPr lang="en-US" sz="1400">
              <a:cs typeface="Segoe UI"/>
            </a:endParaRPr>
          </a:p>
          <a:p>
            <a:pPr fontAlgn="base"/>
            <a:r>
              <a:rPr lang="en-US" sz="1400"/>
              <a:t>- Decision: proceed with phased entry and strict go/no-go gates at each scale step.</a:t>
            </a:r>
            <a:r>
              <a:rPr lang="en-US" sz="1400">
                <a:hlinkClick r:id="rId3" action="ppaction://hlinksldjump"/>
              </a:rPr>
              <a:t/>
            </a:r>
            <a:r>
              <a:rPr lang="en-US" sz="1400"/>
              <a:t/>
            </a:r>
          </a:p>
          <a:p>
            <a:pPr fontAlgn="base"/>
            <a:endParaRPr lang="en-US" sz="1400">
              <a:cs typeface="Segoe UI"/>
            </a:endParaRPr>
          </a:p>
          <a:p>
            <a:pPr fontAlgn="base"/>
            <a:r>
              <a:rPr lang="en-US" sz="1400"/>
              <a:t/>
            </a:r>
            <a:r>
              <a:rPr lang="en-US" sz="1400">
                <a:hlinkClick r:id="rId4" action="ppaction://hlinksldjump"/>
              </a:rPr>
              <a:t/>
            </a:r>
            <a:r>
              <a:rPr lang="en-US" sz="1400"/>
              <a:t/>
            </a:r>
          </a:p>
        </p:txBody>
      </p:sp>
    </p:spTree>
    <p:extLst>
      <p:ext uri="{BB962C8B-B14F-4D97-AF65-F5344CB8AC3E}">
        <p14:creationId xmlns:p14="http://schemas.microsoft.com/office/powerpoint/2010/main" val="36317533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1449-26AC-795B-E8EC-D13799A4D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2BA1F-4185-8386-99B2-EAFAC483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tnam - Lessons Learned</a:t>
            </a:r>
            <a:br>
              <a:rPr lang="en-US"/>
            </a:br>
            <a:r>
              <a:rPr lang="en-US" sz="1600"/>
              <a:t>What previous entrants learned</a:t>
            </a:r>
            <a:endParaRPr lang="en-KH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C0C59B9-B934-C5DF-3AF0-DE3D7C634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852641"/>
              </p:ext>
            </p:extLst>
          </p:nvPr>
        </p:nvGraphicFramePr>
        <p:xfrm>
          <a:off x="334963" y="1341437"/>
          <a:ext cx="11508811" cy="4751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91">
                  <a:extLst>
                    <a:ext uri="{9D8B030D-6E8A-4147-A177-3AD203B41FA5}">
                      <a16:colId xmlns:a16="http://schemas.microsoft.com/office/drawing/2014/main" val="3553870781"/>
                    </a:ext>
                  </a:extLst>
                </a:gridCol>
                <a:gridCol w="2043953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8949967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</a:tblGrid>
              <a:tr h="950277"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  <a:hlinkClick r:id="rId2" action="ppaction://hlinksldjump"/>
                        </a:rPr>
                        <a:t>Source: YCP Analysi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FAILURES TO AVOID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Company</a:t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3" action="ppaction://hlinksldjump"/>
                        </a:rPr>
                        <a:t>Reason | Margin pressure from undifferentiated price competition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Lesso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Regional ESCO entrant (2019)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4" action="ppaction://hlinksldjump"/>
                        </a:rPr>
                        <a:t>Weak local network and slow permitting navigation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etwork and permitting capability are first-order success conditions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/>
                        <a:t>SUCCESS FACTORS</a:t>
                      </a: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356475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5" action="ppaction://hlinksldjump"/>
                        </a:rPr>
                        <a:t>Enter with a partner that already has operational reach in target clusters.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Use pilot projects to prove measurable value before broad rollout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tect economics through disciplined scope and contract structure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499300"/>
                  </a:ext>
                </a:extLst>
              </a:tr>
              <a:tr h="950277"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  <a:hlinkClick r:id="rId6" action="ppaction://hlinksldjump"/>
                        </a:rPr>
                        <a:t>WARNING SIGNS</a:t>
                      </a: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Permitting duration drifting beyond plan assumptions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Pilot conversion slowing versus baseline target.</a:t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3158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45CFD-55BE-D7BA-A8CB-3794F9FA58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9669B6-619D-3B29-5134-F512E51A0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F27B3EE-3026-A89C-AC40-A49A7DE2A5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855049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Vietnam | Recommendation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Policy &amp; Regulatory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Market Overview | Appendix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Competitive Landscape</a:t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Strategic Analysis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7041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/>
          <p:cNvSpPr/>
          <p:nvPr/>
        </p:nvSpPr>
        <p:spPr>
          <a:xfrm>
            <a:off x="343632" y="44623"/>
            <a:ext cx="11508821" cy="941558"/>
          </a:xfrm>
          <a:prstGeom prst="rect">
            <a:avLst/>
          </a:prstGeom>
          <a:noFill/>
          <a:ln/>
        </p:spPr>
        <p:txBody>
          <a:bodyPr wrap="square" rtlCol="0" anchor="t">
            <a:normAutofit/>
          </a:bodyPr>
          <a:lstStyle/>
          <a:p>
            <a:pPr indent="0" marL="0">
              <a:buNone/>
            </a:pPr>
            <a:r>
              <a:rPr lang="en-US" sz="2000" dirty="0">
                <a:solidFill>
                  <a:srgbClr val="00000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Vietnam - Research Summary</a:t>
            </a:r>
            <a:endParaRPr lang="en-US" sz="2000" dirty="0"/>
          </a:p>
          <a:p>
            <a:pPr indent="0" marL="0">
              <a:spcBef>
                <a:spcPts val="200"/>
              </a:spcBef>
              <a:buNone/>
            </a:pPr>
            <a:r>
              <a:rPr lang="en-US" sz="1600" dirty="0">
                <a:solidFill>
                  <a:srgbClr val="00000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Analysis completed Feb 2026</a:t>
            </a:r>
            <a:endParaRPr lang="en-US" sz="2000" dirty="0"/>
          </a:p>
        </p:txBody>
      </p:sp>
      <p:sp>
        <p:nvSpPr>
          <p:cNvPr id="3" name="Text 1"/>
          <p:cNvSpPr/>
          <p:nvPr/>
        </p:nvSpPr>
        <p:spPr>
          <a:xfrm>
            <a:off x="343632" y="6121359"/>
            <a:ext cx="11508821" cy="22860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indent="0" marL="0">
              <a:buNone/>
            </a:pPr>
            <a:r>
              <a:rPr lang="en-US" sz="1000" dirty="0">
                <a:solidFill>
                  <a:srgbClr val="999999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Source: YCP Analysis</a:t>
            </a:r>
            <a:endParaRPr lang="en-US" sz="1000" dirty="0"/>
          </a:p>
        </p:txBody>
      </p:sp>
      <p:graphicFrame>
        <p:nvGraphicFramePr>
          <p:cNvPr id="33" name="Table 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011935"/>
              </p:ext>
            </p:extLst>
          </p:nvPr>
        </p:nvGraphicFramePr>
        <p:xfrm>
          <a:off x="334945" y="1341425"/>
          <a:ext cx="11508638" cy="4751222"/>
        </p:xfrm>
        <a:graphic>
          <a:graphicData uri="http://schemas.openxmlformats.org/drawingml/2006/table">
            <a:tbl>
              <a:tblPr/>
              <a:tblGrid>
                <a:gridCol w="3072384"/>
                <a:gridCol w="4297680"/>
                <a:gridCol w="4151376"/>
              </a:tblGrid>
              <a:tr h="1187806"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Metric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Value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Confidence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7806"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Typical Deal Size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$8M-$10M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7806"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Attractiveness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8/10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Demand tailwinds, policy support, and clear customer pain points support market attractiveness.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7806"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Feasibility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7/10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marL="0">
                        <a:buNone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Segoe UI" pitchFamily="34" charset="0"/>
                          <a:ea typeface="Segoe UI" pitchFamily="34" charset="-122"/>
                          <a:cs typeface="Segoe UI" pitchFamily="34" charset="-120"/>
                        </a:rPr>
                        <a:t>Execution is feasible with disciplined partner selection and phased entry sequencing.</a:t>
                      </a:r>
                      <a:endParaRPr lang="en-US" sz="1400" dirty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marL="36000" marR="36000" marT="0" marB="0" anchor="mid">
                    <a:lnL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 2"/>
          <p:cNvSpPr/>
          <p:nvPr/>
        </p:nvSpPr>
        <p:spPr>
          <a:xfrm>
            <a:off x="343632" y="3657600"/>
            <a:ext cx="11508821" cy="822960"/>
          </a:xfrm>
          <a:prstGeom prst="rect">
            <a:avLst/>
          </a:prstGeom>
          <a:solidFill>
            <a:srgbClr val="EDFDFF"/>
          </a:solidFill>
          <a:ln>
            <a:solidFill>
              <a:srgbClr val="007FFF"/>
            </a:solidFill>
          </a:ln>
        </p:spPr>
        <p:txBody>
          <a:bodyPr wrap="square" lIns="63500" tIns="101600" rIns="101600" bIns="63500" rtlCol="0" anchor="t">
            <a:normAutofit/>
          </a:bodyPr>
          <a:lstStyle/>
          <a:p>
            <a:pPr indent="0" marL="0">
              <a:buNone/>
            </a:pPr>
            <a:r>
              <a:rPr lang="en-US" sz="1200" b="1" dirty="0">
                <a:solidFill>
                  <a:srgbClr val="007FFF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VERDICT: GO (phased, partner-led)
</a:t>
            </a:r>
            <a:pPr indent="0" marL="0">
              <a:buNone/>
            </a:pPr>
            <a:r>
              <a:rPr lang="en-US" sz="1200" dirty="0">
                <a:solidFill>
                  <a:srgbClr val="00000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--</a:t>
            </a:r>
            <a:endParaRPr lang="en-US" sz="1200" dirty="0"/>
          </a:p>
        </p:txBody>
      </p:sp>
      <p:sp>
        <p:nvSpPr>
          <p:cNvPr id="6" name="Text 3"/>
          <p:cNvSpPr/>
          <p:nvPr/>
        </p:nvSpPr>
        <p:spPr>
          <a:xfrm>
            <a:off x="343632" y="6093927"/>
            <a:ext cx="11508821" cy="219456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normAutofit/>
          </a:bodyPr>
          <a:lstStyle/>
          <a:p>
            <a:pPr indent="0" marL="0">
              <a:buNone/>
            </a:pPr>
            <a:r>
              <a:rPr lang="en-US" sz="1000" dirty="0">
                <a:solidFill>
                  <a:srgbClr val="80808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Sources: </a:t>
            </a:r>
            <a:pPr indent="0" marL="0">
              <a:buNone/>
            </a:pPr>
            <a:r>
              <a:rPr lang="en-US" sz="1000" dirty="0">
                <a:solidFill>
                  <a:srgbClr val="80808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Government statistical agencies</a:t>
            </a:r>
            <a:pPr indent="0" marL="0">
              <a:buNone/>
            </a:pPr>
            <a:r>
              <a:rPr lang="en-US" sz="1000" dirty="0">
                <a:solidFill>
                  <a:srgbClr val="80808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, </a:t>
            </a:r>
            <a:pPr indent="0" marL="0">
              <a:buNone/>
            </a:pPr>
            <a:r>
              <a:rPr lang="en-US" sz="1000" dirty="0">
                <a:solidFill>
                  <a:srgbClr val="808080"/>
                </a:solidFill>
                <a:latin typeface="Segoe UI" pitchFamily="34" charset="0"/>
                <a:ea typeface="Segoe UI" pitchFamily="34" charset="-122"/>
                <a:cs typeface="Segoe UI" pitchFamily="34" charset="-120"/>
              </a:rPr>
              <a:t>Industry associations</a:t>
            </a:r>
            <a:endParaRPr lang="en-US" sz="1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3BD704-8CA3-D958-C367-9E4DC8E65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828AA4-4902-5332-1B80-2D9778EA8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/>
              <a:t>Opportunities &amp; Barriers</a:t>
            </a:r>
            <a:r>
              <a:rPr lang="en-GB" sz="2000"/>
              <a:t>Opportunities</a:t>
            </a:r>
            <a:br>
              <a:rPr lang="en-US" sz="2000"/>
            </a:br>
            <a:r>
              <a:rPr lang="en-US" sz="1600"/>
              <a:t>Industrial demand growth remains high, creating persistent efficiency and fuel-switch demand.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B81BA65-C10A-4B67-50CD-7EF1DD0FDC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704368"/>
              </p:ext>
            </p:extLst>
          </p:nvPr>
        </p:nvGraphicFramePr>
        <p:xfrm>
          <a:off x="6273799" y="1720738"/>
          <a:ext cx="5583239" cy="4372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8131">
                  <a:extLst>
                    <a:ext uri="{9D8B030D-6E8A-4147-A177-3AD203B41FA5}">
                      <a16:colId xmlns:a16="http://schemas.microsoft.com/office/drawing/2014/main" val="3923531282"/>
                    </a:ext>
                  </a:extLst>
                </a:gridCol>
                <a:gridCol w="4135108">
                  <a:extLst>
                    <a:ext uri="{9D8B030D-6E8A-4147-A177-3AD203B41FA5}">
                      <a16:colId xmlns:a16="http://schemas.microsoft.com/office/drawing/2014/main" val="767709632"/>
                    </a:ext>
                  </a:extLst>
                </a:gridCol>
              </a:tblGrid>
              <a:tr h="2186038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 b="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PDP8 creates a multi-year capacity and transition investment window.</a:t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MY" sz="1400" b="0">
                          <a:solidFill>
                            <a:schemeClr val="tx1"/>
                          </a:solidFill>
                        </a:rPr>
                        <a:t>Japanese manufacturers in Vietnam have direct decarbonization mandates from HQ.</a:t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MY" sz="1400" b="0">
                          <a:solidFill>
                            <a:schemeClr val="tx1"/>
                          </a:solidFill>
                        </a:rPr>
                        <a:t>LNG and C&amp;I service models still have whitespace for disciplined entrants.</a:t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MY" sz="1400" b="0">
                          <a:solidFill>
                            <a:schemeClr val="tx1"/>
                          </a:solidFill>
                        </a:rPr>
                        <a:t>Barriers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200889"/>
                  </a:ext>
                </a:extLst>
              </a:tr>
              <a:tr h="2186038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 b="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SOE influence shapes access and sequencing in core parts of the value chain.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MY" sz="1400" b="0">
                          <a:solidFill>
                            <a:schemeClr val="tx1"/>
                          </a:solidFill>
                        </a:rPr>
                        <a:t>Regulatory interpretation can vary by project structure and location.</a:t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MY" sz="1400" b="0">
                          <a:solidFill>
                            <a:schemeClr val="tx1"/>
                          </a:solidFill>
                        </a:rPr>
                        <a:t>Grid constraints and permit sequencing can delay monetization.</a:t>
                      </a: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40575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53B6FA9-C1FF-1A2B-DC7A-30A8C3123402}"/>
              </a:ext>
            </a:extLst>
          </p:cNvPr>
          <p:cNvSpPr txBox="1"/>
          <p:nvPr/>
        </p:nvSpPr>
        <p:spPr>
          <a:xfrm>
            <a:off x="331564" y="6106335"/>
            <a:ext cx="1151676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GB" sz="1000" b="0" i="0" u="none" strike="noStrike" kern="1200">
                <a:solidFill>
                  <a:schemeClr val="tx1"/>
                </a:solidFill>
                <a:effectLst/>
                <a:ea typeface="Meiryo UI"/>
                <a:cs typeface="Times New Roman" panose="02020603050405020304" pitchFamily="18" charset="0"/>
              </a:rPr>
              <a:t>Competition is increasing among regional and global players.</a:t>
            </a:r>
          </a:p>
          <a:p>
            <a:r>
              <a:rPr kumimoji="1" lang="en-GB" sz="1000" b="0" i="0" u="none" strike="noStrike" kern="1200">
                <a:solidFill>
                  <a:schemeClr val="tx1"/>
                </a:solidFill>
                <a:effectLst/>
                <a:ea typeface="Meiryo UI"/>
                <a:cs typeface="Times New Roman" panose="02020603050405020304" pitchFamily="18" charset="0"/>
              </a:rPr>
              <a:t/>
            </a:r>
            <a:endParaRPr lang="en-GB" sz="1000">
              <a:ea typeface="Meiryo UI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44DDBE-64C8-ED68-642C-DDBD7FD9F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123725"/>
              </p:ext>
            </p:extLst>
          </p:nvPr>
        </p:nvGraphicFramePr>
        <p:xfrm>
          <a:off x="347112" y="1720742"/>
          <a:ext cx="5578684" cy="437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6950">
                  <a:extLst>
                    <a:ext uri="{9D8B030D-6E8A-4147-A177-3AD203B41FA5}">
                      <a16:colId xmlns:a16="http://schemas.microsoft.com/office/drawing/2014/main" val="3923531282"/>
                    </a:ext>
                  </a:extLst>
                </a:gridCol>
                <a:gridCol w="4131734">
                  <a:extLst>
                    <a:ext uri="{9D8B030D-6E8A-4147-A177-3AD203B41FA5}">
                      <a16:colId xmlns:a16="http://schemas.microsoft.com/office/drawing/2014/main" val="767709632"/>
                    </a:ext>
                  </a:extLst>
                </a:gridCol>
              </a:tblGrid>
              <a:tr h="145736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 b="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/>
                      </a:r>
                    </a:p>
                  </a:txBody>
                  <a:tcPr marL="36576" marR="36576" marT="0" marB="0" anchor="ctr">
                    <a:lnL w="38099">
                      <a:solidFill>
                        <a:schemeClr val="bg1"/>
                      </a:solidFill>
                    </a:lnL>
                    <a:lnR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/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/>
                      </a:r>
                      <a:endParaRPr kumimoji="1" lang="en-US" sz="1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099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200889"/>
                  </a:ext>
                </a:extLst>
              </a:tr>
              <a:tr h="145736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US" sz="1400"/>
                        <a:t/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5003236"/>
                  </a:ext>
                </a:extLst>
              </a:tr>
              <a:tr h="145736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/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US" sz="1400"/>
                        <a:t/>
                      </a:r>
                    </a:p>
                    <a:p>
                      <a:pPr marL="219075" lvl="0" indent="-2190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n"/>
                        <a:defRPr/>
                      </a:pPr>
                      <a:r>
                        <a:rPr lang="en-US" sz="1400"/>
                        <a:t/>
                      </a:r>
                      <a:r>
                        <a:rPr lang="en-US" sz="1400" err="1"/>
                        <a:t/>
                      </a:r>
                      <a:r>
                        <a:rPr lang="en-US" sz="1400"/>
                        <a:t/>
                      </a:r>
                      <a:endParaRPr lang="en-MY" sz="1400" b="0"/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09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823020"/>
                  </a:ext>
                </a:extLst>
              </a:tr>
            </a:tbl>
          </a:graphicData>
        </a:graphic>
      </p:graphicFrame>
      <p:grpSp>
        <p:nvGrpSpPr>
          <p:cNvPr id="9" name="グループ化 58">
            <a:extLst>
              <a:ext uri="{FF2B5EF4-FFF2-40B4-BE49-F238E27FC236}">
                <a16:creationId xmlns:a16="http://schemas.microsoft.com/office/drawing/2014/main" id="{F6E9BB0F-BDA3-1F0D-842F-EDDB9B2BBE40}"/>
              </a:ext>
            </a:extLst>
          </p:cNvPr>
          <p:cNvGrpSpPr/>
          <p:nvPr/>
        </p:nvGrpSpPr>
        <p:grpSpPr>
          <a:xfrm>
            <a:off x="334963" y="1285010"/>
            <a:ext cx="5583237" cy="307777"/>
            <a:chOff x="1998094" y="1119975"/>
            <a:chExt cx="7884946" cy="465201"/>
          </a:xfrm>
          <a:noFill/>
        </p:grpSpPr>
        <p:sp>
          <p:nvSpPr>
            <p:cNvPr id="10" name="ColumnHeader">
              <a:extLst>
                <a:ext uri="{FF2B5EF4-FFF2-40B4-BE49-F238E27FC236}">
                  <a16:creationId xmlns:a16="http://schemas.microsoft.com/office/drawing/2014/main" id="{5268B2FF-3323-DE3C-2634-6D15525C0A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25587" y="1119975"/>
              <a:ext cx="7629961" cy="465201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lIns="0" tIns="0" rIns="0" bIns="91440" anchor="b">
              <a:spAutoFit/>
            </a:bodyPr>
            <a:lstStyle/>
            <a:p>
              <a:pPr marL="216000" marR="0" lvl="0" indent="-21600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Yu Gothic" panose="020B0400000000000000" pitchFamily="50" charset="-128"/>
                  <a:cs typeface="Segoe UI" panose="020B0502040204020203" pitchFamily="34" charset="0"/>
                </a:rPr>
                <a:t/>
              </a:r>
              <a:endPara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Yu Gothic" panose="020B0400000000000000" pitchFamily="50" charset="-128"/>
                <a:cs typeface="Segoe UI" panose="020B0502040204020203" pitchFamily="34" charset="0"/>
              </a:endParaRPr>
            </a:p>
          </p:txBody>
        </p:sp>
        <p:cxnSp>
          <p:nvCxnSpPr>
            <p:cNvPr id="11" name="直線コネクタ 60">
              <a:extLst>
                <a:ext uri="{FF2B5EF4-FFF2-40B4-BE49-F238E27FC236}">
                  <a16:creationId xmlns:a16="http://schemas.microsoft.com/office/drawing/2014/main" id="{99B61C25-F8A6-FFD2-79E4-AB668E12F8DA}"/>
                </a:ext>
              </a:extLst>
            </p:cNvPr>
            <p:cNvCxnSpPr/>
            <p:nvPr/>
          </p:nvCxnSpPr>
          <p:spPr>
            <a:xfrm>
              <a:off x="1998094" y="1580977"/>
              <a:ext cx="7884946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グループ化 58">
            <a:extLst>
              <a:ext uri="{FF2B5EF4-FFF2-40B4-BE49-F238E27FC236}">
                <a16:creationId xmlns:a16="http://schemas.microsoft.com/office/drawing/2014/main" id="{E8AB27A6-02ED-021D-7984-AD23A551DD6E}"/>
              </a:ext>
            </a:extLst>
          </p:cNvPr>
          <p:cNvGrpSpPr/>
          <p:nvPr/>
        </p:nvGrpSpPr>
        <p:grpSpPr>
          <a:xfrm>
            <a:off x="6261652" y="1282232"/>
            <a:ext cx="5583237" cy="307777"/>
            <a:chOff x="1998094" y="1119975"/>
            <a:chExt cx="7884946" cy="465201"/>
          </a:xfrm>
          <a:noFill/>
        </p:grpSpPr>
        <p:sp>
          <p:nvSpPr>
            <p:cNvPr id="13" name="ColumnHeader">
              <a:extLst>
                <a:ext uri="{FF2B5EF4-FFF2-40B4-BE49-F238E27FC236}">
                  <a16:creationId xmlns:a16="http://schemas.microsoft.com/office/drawing/2014/main" id="{F7A16EAF-18A5-78B7-3B5D-28B141679D9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25587" y="1119975"/>
              <a:ext cx="7629961" cy="465201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square" lIns="0" tIns="0" rIns="0" bIns="91440" anchor="b">
              <a:spAutoFit/>
            </a:bodyPr>
            <a:lstStyle/>
            <a:p>
              <a:pPr marL="216000" marR="0" lvl="0" indent="-21600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Yu Gothic" panose="020B0400000000000000" pitchFamily="50" charset="-128"/>
                  <a:cs typeface="Segoe UI" panose="020B0502040204020203" pitchFamily="34" charset="0"/>
                </a:rPr>
                <a:t/>
              </a:r>
              <a:endPara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Yu Gothic" panose="020B0400000000000000" pitchFamily="50" charset="-128"/>
                <a:cs typeface="Segoe UI" panose="020B0502040204020203" pitchFamily="34" charset="0"/>
              </a:endParaRPr>
            </a:p>
          </p:txBody>
        </p:sp>
        <p:cxnSp>
          <p:nvCxnSpPr>
            <p:cNvPr id="14" name="直線コネクタ 60">
              <a:extLst>
                <a:ext uri="{FF2B5EF4-FFF2-40B4-BE49-F238E27FC236}">
                  <a16:creationId xmlns:a16="http://schemas.microsoft.com/office/drawing/2014/main" id="{5D8CCD49-CCB6-5F46-501D-F465C3C38EDE}"/>
                </a:ext>
              </a:extLst>
            </p:cNvPr>
            <p:cNvCxnSpPr/>
            <p:nvPr/>
          </p:nvCxnSpPr>
          <p:spPr>
            <a:xfrm>
              <a:off x="1998094" y="1580977"/>
              <a:ext cx="7884946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>
            <a:hlinkClick r:id="rId3" action="ppaction://hlinksldjump"/>
            <a:extLst>
              <a:ext uri="{FF2B5EF4-FFF2-40B4-BE49-F238E27FC236}">
                <a16:creationId xmlns:a16="http://schemas.microsoft.com/office/drawing/2014/main" id="{1ADAE785-5003-7308-2E45-78B64F5FE370}"/>
              </a:ext>
            </a:extLst>
          </p:cNvPr>
          <p:cNvSpPr/>
          <p:nvPr/>
        </p:nvSpPr>
        <p:spPr>
          <a:xfrm>
            <a:off x="5240966" y="2997580"/>
            <a:ext cx="684000" cy="18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 i="1">
                <a:solidFill>
                  <a:schemeClr val="tx1"/>
                </a:solidFill>
              </a:rPr>
              <a:t/>
            </a:r>
          </a:p>
        </p:txBody>
      </p:sp>
      <p:sp>
        <p:nvSpPr>
          <p:cNvPr id="8" name="Rectangle 7">
            <a:hlinkClick r:id="rId4" action="ppaction://hlinksldjump"/>
            <a:extLst>
              <a:ext uri="{FF2B5EF4-FFF2-40B4-BE49-F238E27FC236}">
                <a16:creationId xmlns:a16="http://schemas.microsoft.com/office/drawing/2014/main" id="{B1855F04-7E29-3FAB-D54C-70A3553B5AA8}"/>
              </a:ext>
            </a:extLst>
          </p:cNvPr>
          <p:cNvSpPr/>
          <p:nvPr/>
        </p:nvSpPr>
        <p:spPr>
          <a:xfrm>
            <a:off x="5245606" y="4455201"/>
            <a:ext cx="684000" cy="18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>
                <a:solidFill>
                  <a:schemeClr val="tx1"/>
                </a:solidFill>
              </a:rPr>
              <a:t/>
            </a:r>
            <a:endParaRPr kumimoji="1" lang="en-US" sz="1400" i="1">
              <a:solidFill>
                <a:schemeClr val="tx1"/>
              </a:solidFill>
            </a:endParaRPr>
          </a:p>
        </p:txBody>
      </p:sp>
      <p:sp>
        <p:nvSpPr>
          <p:cNvPr id="15" name="Rectangle 14">
            <a:hlinkClick r:id="rId5" action="ppaction://hlinksldjump"/>
            <a:extLst>
              <a:ext uri="{FF2B5EF4-FFF2-40B4-BE49-F238E27FC236}">
                <a16:creationId xmlns:a16="http://schemas.microsoft.com/office/drawing/2014/main" id="{05FD5315-135A-3BAD-BEB8-6EEB2045D628}"/>
              </a:ext>
            </a:extLst>
          </p:cNvPr>
          <p:cNvSpPr/>
          <p:nvPr/>
        </p:nvSpPr>
        <p:spPr>
          <a:xfrm>
            <a:off x="5240966" y="5911236"/>
            <a:ext cx="684000" cy="18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>
                <a:solidFill>
                  <a:schemeClr val="tx1"/>
                </a:solidFill>
              </a:rPr>
              <a:t/>
            </a:r>
            <a:endParaRPr kumimoji="1" lang="en-US" sz="1400" i="1">
              <a:solidFill>
                <a:schemeClr val="tx1"/>
              </a:solidFill>
            </a:endParaRPr>
          </a:p>
        </p:txBody>
      </p:sp>
      <p:sp>
        <p:nvSpPr>
          <p:cNvPr id="17" name="Rectangle 16">
            <a:hlinkClick r:id="rId3" action="ppaction://hlinksldjump"/>
            <a:extLst>
              <a:ext uri="{FF2B5EF4-FFF2-40B4-BE49-F238E27FC236}">
                <a16:creationId xmlns:a16="http://schemas.microsoft.com/office/drawing/2014/main" id="{57EBD1B6-E109-F613-932F-63EF8E059826}"/>
              </a:ext>
            </a:extLst>
          </p:cNvPr>
          <p:cNvSpPr/>
          <p:nvPr/>
        </p:nvSpPr>
        <p:spPr>
          <a:xfrm>
            <a:off x="11160888" y="3725987"/>
            <a:ext cx="684000" cy="18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 i="1">
                <a:solidFill>
                  <a:schemeClr val="tx1"/>
                </a:solidFill>
              </a:rPr>
              <a:t/>
            </a:r>
          </a:p>
        </p:txBody>
      </p:sp>
      <p:sp>
        <p:nvSpPr>
          <p:cNvPr id="16" name="Rectangle 15">
            <a:hlinkClick r:id="rId6" action="ppaction://hlinksldjump"/>
            <a:extLst>
              <a:ext uri="{FF2B5EF4-FFF2-40B4-BE49-F238E27FC236}">
                <a16:creationId xmlns:a16="http://schemas.microsoft.com/office/drawing/2014/main" id="{12E52010-2AFE-0692-EDA6-FEF48E38A07C}"/>
              </a:ext>
            </a:extLst>
          </p:cNvPr>
          <p:cNvSpPr/>
          <p:nvPr/>
        </p:nvSpPr>
        <p:spPr>
          <a:xfrm>
            <a:off x="11158829" y="5911236"/>
            <a:ext cx="684000" cy="18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 i="1">
                <a:solidFill>
                  <a:schemeClr val="tx1"/>
                </a:solidFill>
              </a:rPr>
              <a:t/>
            </a:r>
          </a:p>
        </p:txBody>
      </p:sp>
    </p:spTree>
    <p:extLst>
      <p:ext uri="{BB962C8B-B14F-4D97-AF65-F5344CB8AC3E}">
        <p14:creationId xmlns:p14="http://schemas.microsoft.com/office/powerpoint/2010/main" val="3788352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A3F37-6C1D-AE66-452F-75DDFB86F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349A48E-9725-8EE9-F103-C81308428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679C4AF-CE63-27E0-93D9-967246E9F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04731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Policy &amp; Regulatory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/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1750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8F6B4-0BE9-29FB-A03B-055BD1337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70CC3-6025-3976-3363-405FCD2F0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94" y="262858"/>
            <a:ext cx="11508811" cy="631876"/>
          </a:xfrm>
        </p:spPr>
        <p:txBody>
          <a:bodyPr/>
          <a:lstStyle/>
          <a:p>
            <a:r>
              <a:rPr lang="en-MY" sz="2000"/>
              <a:t>Vietnam - Energy Services Foundational Acts</a:t>
            </a:r>
            <a:br>
              <a:rPr lang="en-MY"/>
            </a:br>
            <a:r>
              <a:rPr lang="en-US" sz="1600"/>
              <a:t>Policy momentum is positive, but entry execution must align with local implementation realities.</a:t>
            </a:r>
            <a:endParaRPr lang="en-US">
              <a:latin typeface="Segoe UI"/>
              <a:cs typeface="Segoe U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FF4771-BD2E-EA37-2F15-8C7D492413BF}"/>
              </a:ext>
            </a:extLst>
          </p:cNvPr>
          <p:cNvSpPr txBox="1"/>
          <p:nvPr/>
        </p:nvSpPr>
        <p:spPr>
          <a:xfrm>
            <a:off x="333640" y="6048891"/>
            <a:ext cx="1151676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ea typeface="Meiryo UI"/>
                <a:cs typeface="Times New Roman" panose="02020603050405020304" pitchFamily="18" charset="0"/>
              </a:rPr>
              <a:t>Source: YCP Analysis</a:t>
            </a:r>
          </a:p>
          <a:p>
            <a:r>
              <a:rPr lang="en-GB" sz="1000">
                <a:ea typeface="Meiryo UI"/>
                <a:cs typeface="Times New Roman" panose="02020603050405020304" pitchFamily="18" charset="0"/>
              </a:rPr>
              <a:t>Act Name</a:t>
            </a:r>
          </a:p>
        </p:txBody>
      </p:sp>
      <p:grpSp>
        <p:nvGrpSpPr>
          <p:cNvPr id="4" name="グループ化 64">
            <a:extLst>
              <a:ext uri="{FF2B5EF4-FFF2-40B4-BE49-F238E27FC236}">
                <a16:creationId xmlns:a16="http://schemas.microsoft.com/office/drawing/2014/main" id="{053E01C0-B770-C07B-81FF-465E4ABE0B4B}"/>
              </a:ext>
            </a:extLst>
          </p:cNvPr>
          <p:cNvGrpSpPr/>
          <p:nvPr/>
        </p:nvGrpSpPr>
        <p:grpSpPr>
          <a:xfrm>
            <a:off x="1383631" y="1255515"/>
            <a:ext cx="3140243" cy="407556"/>
            <a:chOff x="455612" y="1382529"/>
            <a:chExt cx="4113213" cy="655821"/>
          </a:xfrm>
          <a:noFill/>
        </p:grpSpPr>
        <p:sp>
          <p:nvSpPr>
            <p:cNvPr id="6" name="ColumnHeader">
              <a:extLst>
                <a:ext uri="{FF2B5EF4-FFF2-40B4-BE49-F238E27FC236}">
                  <a16:creationId xmlns:a16="http://schemas.microsoft.com/office/drawing/2014/main" id="{CA106D10-A426-C56C-B230-2203059DCA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Year</a:t>
              </a:r>
            </a:p>
          </p:txBody>
        </p:sp>
        <p:cxnSp>
          <p:nvCxnSpPr>
            <p:cNvPr id="7" name="直線コネクタ 66">
              <a:extLst>
                <a:ext uri="{FF2B5EF4-FFF2-40B4-BE49-F238E27FC236}">
                  <a16:creationId xmlns:a16="http://schemas.microsoft.com/office/drawing/2014/main" id="{61A642FD-492B-D125-C1E9-CDAAFF04B4B5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グループ化 64">
            <a:extLst>
              <a:ext uri="{FF2B5EF4-FFF2-40B4-BE49-F238E27FC236}">
                <a16:creationId xmlns:a16="http://schemas.microsoft.com/office/drawing/2014/main" id="{AB13A872-5CAB-B787-3589-8A3F73D3EA56}"/>
              </a:ext>
            </a:extLst>
          </p:cNvPr>
          <p:cNvGrpSpPr/>
          <p:nvPr/>
        </p:nvGrpSpPr>
        <p:grpSpPr>
          <a:xfrm>
            <a:off x="4912660" y="1255515"/>
            <a:ext cx="2125814" cy="407556"/>
            <a:chOff x="455612" y="1382529"/>
            <a:chExt cx="4113213" cy="655821"/>
          </a:xfrm>
          <a:noFill/>
        </p:grpSpPr>
        <p:sp>
          <p:nvSpPr>
            <p:cNvPr id="9" name="ColumnHeader">
              <a:extLst>
                <a:ext uri="{FF2B5EF4-FFF2-40B4-BE49-F238E27FC236}">
                  <a16:creationId xmlns:a16="http://schemas.microsoft.com/office/drawing/2014/main" id="{4C5468B1-5AAC-AF72-F544-88EFC1AE53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Requirements</a:t>
              </a:r>
            </a:p>
          </p:txBody>
        </p:sp>
        <p:cxnSp>
          <p:nvCxnSpPr>
            <p:cNvPr id="10" name="直線コネクタ 66">
              <a:extLst>
                <a:ext uri="{FF2B5EF4-FFF2-40B4-BE49-F238E27FC236}">
                  <a16:creationId xmlns:a16="http://schemas.microsoft.com/office/drawing/2014/main" id="{3763CB37-A889-68D6-F13D-55F73E0C6580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グループ化 64">
            <a:extLst>
              <a:ext uri="{FF2B5EF4-FFF2-40B4-BE49-F238E27FC236}">
                <a16:creationId xmlns:a16="http://schemas.microsoft.com/office/drawing/2014/main" id="{FC2A9478-93F7-F422-BEBB-25BF58A69349}"/>
              </a:ext>
            </a:extLst>
          </p:cNvPr>
          <p:cNvGrpSpPr/>
          <p:nvPr/>
        </p:nvGrpSpPr>
        <p:grpSpPr>
          <a:xfrm>
            <a:off x="7439352" y="1251792"/>
            <a:ext cx="4405967" cy="407556"/>
            <a:chOff x="455612" y="1382529"/>
            <a:chExt cx="4113213" cy="655821"/>
          </a:xfrm>
          <a:noFill/>
        </p:grpSpPr>
        <p:sp>
          <p:nvSpPr>
            <p:cNvPr id="12" name="ColumnHeader">
              <a:extLst>
                <a:ext uri="{FF2B5EF4-FFF2-40B4-BE49-F238E27FC236}">
                  <a16:creationId xmlns:a16="http://schemas.microsoft.com/office/drawing/2014/main" id="{5A166E4F-75EB-4A3D-CA0C-1A7D036D294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Enforcement</a:t>
              </a:r>
            </a:p>
          </p:txBody>
        </p:sp>
        <p:cxnSp>
          <p:nvCxnSpPr>
            <p:cNvPr id="13" name="直線コネクタ 66">
              <a:extLst>
                <a:ext uri="{FF2B5EF4-FFF2-40B4-BE49-F238E27FC236}">
                  <a16:creationId xmlns:a16="http://schemas.microsoft.com/office/drawing/2014/main" id="{38441C45-FA43-347F-A70E-57C1AEE381D6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C5E3848-2FC6-2132-C955-3EF54F648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46019"/>
              </p:ext>
            </p:extLst>
          </p:nvPr>
        </p:nvGraphicFramePr>
        <p:xfrm>
          <a:off x="343673" y="1709689"/>
          <a:ext cx="11521440" cy="4383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5738">
                  <a:extLst>
                    <a:ext uri="{9D8B030D-6E8A-4147-A177-3AD203B41FA5}">
                      <a16:colId xmlns:a16="http://schemas.microsoft.com/office/drawing/2014/main" val="2260770571"/>
                    </a:ext>
                  </a:extLst>
                </a:gridCol>
                <a:gridCol w="926431">
                  <a:extLst>
                    <a:ext uri="{9D8B030D-6E8A-4147-A177-3AD203B41FA5}">
                      <a16:colId xmlns:a16="http://schemas.microsoft.com/office/drawing/2014/main" val="1492657045"/>
                    </a:ext>
                  </a:extLst>
                </a:gridCol>
                <a:gridCol w="2370221">
                  <a:extLst>
                    <a:ext uri="{9D8B030D-6E8A-4147-A177-3AD203B41FA5}">
                      <a16:colId xmlns:a16="http://schemas.microsoft.com/office/drawing/2014/main" val="2423449230"/>
                    </a:ext>
                  </a:extLst>
                </a:gridCol>
                <a:gridCol w="288758">
                  <a:extLst>
                    <a:ext uri="{9D8B030D-6E8A-4147-A177-3AD203B41FA5}">
                      <a16:colId xmlns:a16="http://schemas.microsoft.com/office/drawing/2014/main" val="1253655250"/>
                    </a:ext>
                  </a:extLst>
                </a:gridCol>
                <a:gridCol w="2225842">
                  <a:extLst>
                    <a:ext uri="{9D8B030D-6E8A-4147-A177-3AD203B41FA5}">
                      <a16:colId xmlns:a16="http://schemas.microsoft.com/office/drawing/2014/main" val="1769697489"/>
                    </a:ext>
                  </a:extLst>
                </a:gridCol>
                <a:gridCol w="336884">
                  <a:extLst>
                    <a:ext uri="{9D8B030D-6E8A-4147-A177-3AD203B41FA5}">
                      <a16:colId xmlns:a16="http://schemas.microsoft.com/office/drawing/2014/main" val="3665543022"/>
                    </a:ext>
                  </a:extLst>
                </a:gridCol>
                <a:gridCol w="4417566">
                  <a:extLst>
                    <a:ext uri="{9D8B030D-6E8A-4147-A177-3AD203B41FA5}">
                      <a16:colId xmlns:a16="http://schemas.microsoft.com/office/drawing/2014/main" val="1641286566"/>
                    </a:ext>
                  </a:extLst>
                </a:gridCol>
              </a:tblGrid>
              <a:tr h="14610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Law on Economical and Efficient Use of Energy</a:t>
                      </a:r>
                      <a:endParaRPr kumimoji="1" lang="en-MY" sz="1400" b="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Large consumers must run periodic audits, appoint energy managers, and implement efficiency plans. Penalties: Administrative fines and mandatory corrective plans for non-compliance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inistry and provincial inspectors with annual compliance checks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ower Development Plan 8 (PDP8)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ets generation expansion to 2030 with strong renewable additions and gas transition support. Penalties: Project delays can trigger permit and procurement consequences</a:t>
                      </a: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National planning with utility-level implementation milestones</a:t>
                      </a: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Revised Energy Efficiency Law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2025/2026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Expands sector scope, strengthens reporting requirements, and increases accountability. Penalties: Stronger fines and formal remediation requirements</a:t>
                      </a:r>
                      <a:endParaRPr kumimoji="1" lang="en-MY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320570"/>
                  </a:ext>
                </a:extLst>
              </a:tr>
              <a:tr h="14610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Expanded agency oversight with tighter reporting deadlines</a:t>
                      </a:r>
                      <a:endParaRPr kumimoji="1" lang="en-MY" sz="1400" b="0" i="0" u="none" strike="noStrike" kern="120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788812"/>
                  </a:ext>
                </a:extLst>
              </a:tr>
              <a:tr h="146104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MY" sz="1400" b="0" i="0" u="none" strike="noStrike" kern="120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  <a:endParaRPr kumimoji="1" lang="en-US" sz="1400" b="0" i="0" u="none" strike="noStrike" kern="120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  <a:p>
                      <a:pPr marL="0" lvl="0" indent="0" algn="l" defTabSz="914400" rtl="0" eaLnBrk="1" latinLnBrk="0" hangingPunct="1">
                        <a:buNone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  <a:endParaRPr kumimoji="1" lang="en-MY" sz="14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endParaRPr kumimoji="1" lang="en-US" sz="1400" b="0" i="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MY" sz="1400" b="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6576" marR="3657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980588"/>
                  </a:ext>
                </a:extLst>
              </a:tr>
            </a:tbl>
          </a:graphicData>
        </a:graphic>
      </p:graphicFrame>
      <p:grpSp>
        <p:nvGrpSpPr>
          <p:cNvPr id="16" name="グループ化 64">
            <a:extLst>
              <a:ext uri="{FF2B5EF4-FFF2-40B4-BE49-F238E27FC236}">
                <a16:creationId xmlns:a16="http://schemas.microsoft.com/office/drawing/2014/main" id="{EADF220B-6C8C-CDD6-A72C-D69D9AC72A84}"/>
              </a:ext>
            </a:extLst>
          </p:cNvPr>
          <p:cNvGrpSpPr/>
          <p:nvPr/>
        </p:nvGrpSpPr>
        <p:grpSpPr>
          <a:xfrm>
            <a:off x="333641" y="1252300"/>
            <a:ext cx="953738" cy="407556"/>
            <a:chOff x="455612" y="1382529"/>
            <a:chExt cx="4113213" cy="655821"/>
          </a:xfrm>
          <a:noFill/>
        </p:grpSpPr>
        <p:sp>
          <p:nvSpPr>
            <p:cNvPr id="17" name="ColumnHeader">
              <a:extLst>
                <a:ext uri="{FF2B5EF4-FFF2-40B4-BE49-F238E27FC236}">
                  <a16:creationId xmlns:a16="http://schemas.microsoft.com/office/drawing/2014/main" id="{AE60BC3F-9BC1-4D25-FE6C-AFE6273C23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18" name="直線コネクタ 66">
              <a:extLst>
                <a:ext uri="{FF2B5EF4-FFF2-40B4-BE49-F238E27FC236}">
                  <a16:creationId xmlns:a16="http://schemas.microsoft.com/office/drawing/2014/main" id="{8CEEBBBF-18ED-0A1E-5BF5-255183038A1D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052E1C31-8120-8C2F-860D-86856E2D2DB8}"/>
              </a:ext>
            </a:extLst>
          </p:cNvPr>
          <p:cNvSpPr/>
          <p:nvPr/>
        </p:nvSpPr>
        <p:spPr>
          <a:xfrm rot="5400000">
            <a:off x="4129495" y="2316434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98817495-1D3D-B203-6818-30461C72B639}"/>
              </a:ext>
            </a:extLst>
          </p:cNvPr>
          <p:cNvSpPr/>
          <p:nvPr/>
        </p:nvSpPr>
        <p:spPr>
          <a:xfrm rot="5400000">
            <a:off x="4129912" y="3766821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E29C790-C678-CC09-8044-6380121AA97A}"/>
              </a:ext>
            </a:extLst>
          </p:cNvPr>
          <p:cNvSpPr/>
          <p:nvPr/>
        </p:nvSpPr>
        <p:spPr>
          <a:xfrm rot="5400000">
            <a:off x="4129494" y="5217207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858EBB72-7295-4208-55AE-DAC59679A05F}"/>
              </a:ext>
            </a:extLst>
          </p:cNvPr>
          <p:cNvSpPr/>
          <p:nvPr/>
        </p:nvSpPr>
        <p:spPr>
          <a:xfrm rot="5400000">
            <a:off x="6644156" y="2316435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DAEF9F13-2FC1-3D00-D55F-433767FF39AB}"/>
              </a:ext>
            </a:extLst>
          </p:cNvPr>
          <p:cNvSpPr/>
          <p:nvPr/>
        </p:nvSpPr>
        <p:spPr>
          <a:xfrm rot="5400000">
            <a:off x="6644155" y="3788626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900FCCE3-3F24-30EE-9668-09953585BC2F}"/>
              </a:ext>
            </a:extLst>
          </p:cNvPr>
          <p:cNvSpPr/>
          <p:nvPr/>
        </p:nvSpPr>
        <p:spPr>
          <a:xfrm rot="5400000">
            <a:off x="6644155" y="5260817"/>
            <a:ext cx="1290319" cy="27601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893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E035A0-33CF-7F1A-4C61-BD5DBDB9C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90A23D5-D26A-1975-305F-C9CECB0F591C}"/>
              </a:ext>
            </a:extLst>
          </p:cNvPr>
          <p:cNvSpPr txBox="1">
            <a:spLocks/>
          </p:cNvSpPr>
          <p:nvPr/>
        </p:nvSpPr>
        <p:spPr bwMode="auto">
          <a:xfrm>
            <a:off x="341594" y="262858"/>
            <a:ext cx="11508811" cy="6318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/>
              <a:t>Vietnam - National Energy Policy</a:t>
            </a:r>
            <a:br>
              <a:rPr lang="en-US" sz="2000"/>
            </a:br>
            <a:r>
              <a:rPr lang="en-US" sz="1600"/>
              <a:t>PDP8 and efficiency-law updates create demand for practical decarbonization and energy-service delivery.</a:t>
            </a:r>
            <a:endParaRPr lang="en-US" sz="1600">
              <a:latin typeface="Segoe UI"/>
              <a:cs typeface="Segoe UI"/>
            </a:endParaRPr>
          </a:p>
        </p:txBody>
      </p:sp>
      <p:grpSp>
        <p:nvGrpSpPr>
          <p:cNvPr id="12" name="グループ化 64">
            <a:extLst>
              <a:ext uri="{FF2B5EF4-FFF2-40B4-BE49-F238E27FC236}">
                <a16:creationId xmlns:a16="http://schemas.microsoft.com/office/drawing/2014/main" id="{7966179C-CAFA-2D05-9036-F0B87165F7A9}"/>
              </a:ext>
            </a:extLst>
          </p:cNvPr>
          <p:cNvGrpSpPr/>
          <p:nvPr/>
        </p:nvGrpSpPr>
        <p:grpSpPr>
          <a:xfrm>
            <a:off x="2418080" y="1253287"/>
            <a:ext cx="4577084" cy="407556"/>
            <a:chOff x="455612" y="1382529"/>
            <a:chExt cx="4113213" cy="655821"/>
          </a:xfrm>
          <a:noFill/>
        </p:grpSpPr>
        <p:sp>
          <p:nvSpPr>
            <p:cNvPr id="15" name="ColumnHeader">
              <a:extLst>
                <a:ext uri="{FF2B5EF4-FFF2-40B4-BE49-F238E27FC236}">
                  <a16:creationId xmlns:a16="http://schemas.microsoft.com/office/drawing/2014/main" id="{AEACE285-FD13-3502-5DE4-4698B6F1FBE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>Source: YCP Analysis</a:t>
              </a:r>
            </a:p>
          </p:txBody>
        </p:sp>
        <p:cxnSp>
          <p:nvCxnSpPr>
            <p:cNvPr id="16" name="直線コネクタ 66">
              <a:extLst>
                <a:ext uri="{FF2B5EF4-FFF2-40B4-BE49-F238E27FC236}">
                  <a16:creationId xmlns:a16="http://schemas.microsoft.com/office/drawing/2014/main" id="{6AC3FFCC-D11B-3E96-6DA6-5A69B1239C54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FEB8382-E457-D640-C9AE-EF9814ACB275}"/>
              </a:ext>
            </a:extLst>
          </p:cNvPr>
          <p:cNvSpPr txBox="1"/>
          <p:nvPr/>
        </p:nvSpPr>
        <p:spPr>
          <a:xfrm>
            <a:off x="333640" y="6109051"/>
            <a:ext cx="1151676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ea typeface="Meiryo UI"/>
                <a:cs typeface="Times New Roman" panose="02020603050405020304" pitchFamily="18" charset="0"/>
              </a:rPr>
              <a:t>Metric</a:t>
            </a:r>
          </a:p>
          <a:p>
            <a:r>
              <a:rPr lang="en-GB" sz="1000">
                <a:ea typeface="Meiryo UI"/>
                <a:cs typeface="Times New Roman" panose="02020603050405020304" pitchFamily="18" charset="0"/>
              </a:rPr>
              <a:t>Target</a:t>
            </a:r>
            <a:r>
              <a:rPr lang="en-US" sz="1000">
                <a:ea typeface="Meiryo UI"/>
                <a:cs typeface="Times New Roman" panose="02020603050405020304" pitchFamily="18" charset="0"/>
              </a:rPr>
              <a:t>Deadline</a:t>
            </a:r>
            <a:endParaRPr lang="en-GB" sz="1000">
              <a:ea typeface="Meiryo UI"/>
              <a:cs typeface="Times New Roman" panose="02020603050405020304" pitchFamily="18" charset="0"/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86020D00-C800-042B-3D00-D531E4146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241774"/>
              </p:ext>
            </p:extLst>
          </p:nvPr>
        </p:nvGraphicFramePr>
        <p:xfrm>
          <a:off x="334962" y="1759284"/>
          <a:ext cx="11521440" cy="4044176"/>
        </p:xfrm>
        <a:graphic>
          <a:graphicData uri="http://schemas.openxmlformats.org/drawingml/2006/table">
            <a:tbl>
              <a:tblPr/>
              <a:tblGrid>
                <a:gridCol w="2011680">
                  <a:extLst>
                    <a:ext uri="{9D8B030D-6E8A-4147-A177-3AD203B41FA5}">
                      <a16:colId xmlns:a16="http://schemas.microsoft.com/office/drawing/2014/main" val="4151809906"/>
                    </a:ext>
                  </a:extLst>
                </a:gridCol>
                <a:gridCol w="4753976">
                  <a:extLst>
                    <a:ext uri="{9D8B030D-6E8A-4147-A177-3AD203B41FA5}">
                      <a16:colId xmlns:a16="http://schemas.microsoft.com/office/drawing/2014/main" val="1600233934"/>
                    </a:ext>
                  </a:extLst>
                </a:gridCol>
                <a:gridCol w="92344">
                  <a:extLst>
                    <a:ext uri="{9D8B030D-6E8A-4147-A177-3AD203B41FA5}">
                      <a16:colId xmlns:a16="http://schemas.microsoft.com/office/drawing/2014/main" val="3462517134"/>
                    </a:ext>
                  </a:extLst>
                </a:gridCol>
                <a:gridCol w="4663440">
                  <a:extLst>
                    <a:ext uri="{9D8B030D-6E8A-4147-A177-3AD203B41FA5}">
                      <a16:colId xmlns:a16="http://schemas.microsoft.com/office/drawing/2014/main" val="1856155995"/>
                    </a:ext>
                  </a:extLst>
                </a:gridCol>
              </a:tblGrid>
              <a:tr h="5055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able capacity expansion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168750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GW target trajectory by 2030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MY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MY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MY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701725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fontAlgn="base">
                        <a:buNone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ion in progress with phased rollout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rial efficiency adoption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er compliance and implementation coverage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5629361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fontAlgn="base"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26+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engthened through revised law enforcement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as transition support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1384177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aled LNG and transition infrastructure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tive project pipeline with staged commissioning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 Initiatives</a:t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lang="en-US" sz="1400"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43891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fontAlgn="base">
                        <a:buNone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rial audit and compliance enforcement at higher consistency.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6029677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fontAlgn="base">
                        <a:buNone/>
                      </a:pPr>
                      <a:r>
                        <a:rPr kumimoji="1" lang="en-US" sz="14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newable and transition capacity planning tied to PDP8 execution.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entive programs aligned with project structure and location.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kumimoji="1"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443131"/>
                  </a:ext>
                </a:extLst>
              </a:tr>
              <a:tr h="505522">
                <a:tc>
                  <a:txBody>
                    <a:bodyPr/>
                    <a:lstStyle/>
                    <a:p>
                      <a:pPr fontAlgn="base"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/>
                      </a: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endParaRPr kumimoji="1"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472" marR="33472" marT="16736" marB="16736" anchor="ctr">
                    <a:lnL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082658"/>
                  </a:ext>
                </a:extLst>
              </a:tr>
            </a:tbl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18107361-443F-098D-818D-357772F98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8904103"/>
              </p:ext>
            </p:extLst>
          </p:nvPr>
        </p:nvGraphicFramePr>
        <p:xfrm>
          <a:off x="6233969" y="1750525"/>
          <a:ext cx="4919304" cy="4551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AB7860C5-C41A-9B92-0BC8-403FF9FE1CA6}"/>
              </a:ext>
            </a:extLst>
          </p:cNvPr>
          <p:cNvSpPr txBox="1"/>
          <p:nvPr/>
        </p:nvSpPr>
        <p:spPr>
          <a:xfrm>
            <a:off x="288357" y="1336858"/>
            <a:ext cx="10312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buNone/>
            </a:pPr>
            <a:r>
              <a:rPr lang="en-US" sz="1400">
                <a:solidFill>
                  <a:schemeClr val="tx1"/>
                </a:solidFill>
                <a:effectLst/>
                <a:latin typeface="+mj-lt"/>
              </a:rPr>
              <a:t/>
            </a:r>
          </a:p>
        </p:txBody>
      </p:sp>
      <p:grpSp>
        <p:nvGrpSpPr>
          <p:cNvPr id="11" name="グループ化 64">
            <a:extLst>
              <a:ext uri="{FF2B5EF4-FFF2-40B4-BE49-F238E27FC236}">
                <a16:creationId xmlns:a16="http://schemas.microsoft.com/office/drawing/2014/main" id="{0A0C95E2-F7E2-7123-5095-6B6BD6BFCBD2}"/>
              </a:ext>
            </a:extLst>
          </p:cNvPr>
          <p:cNvGrpSpPr/>
          <p:nvPr/>
        </p:nvGrpSpPr>
        <p:grpSpPr>
          <a:xfrm>
            <a:off x="7519737" y="1245841"/>
            <a:ext cx="3056022" cy="407556"/>
            <a:chOff x="455612" y="1382529"/>
            <a:chExt cx="4113213" cy="655821"/>
          </a:xfrm>
          <a:noFill/>
        </p:grpSpPr>
        <p:sp>
          <p:nvSpPr>
            <p:cNvPr id="13" name="ColumnHeader">
              <a:extLst>
                <a:ext uri="{FF2B5EF4-FFF2-40B4-BE49-F238E27FC236}">
                  <a16:creationId xmlns:a16="http://schemas.microsoft.com/office/drawing/2014/main" id="{36E66DD7-03C3-1B0D-EEBB-2D0A4156AD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14" name="直線コネクタ 66">
              <a:extLst>
                <a:ext uri="{FF2B5EF4-FFF2-40B4-BE49-F238E27FC236}">
                  <a16:creationId xmlns:a16="http://schemas.microsoft.com/office/drawing/2014/main" id="{E2E58D65-0B35-C99C-81D8-75D8656CA257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D92D2E43-139E-F7E6-5739-2D16320BBF4E}"/>
              </a:ext>
            </a:extLst>
          </p:cNvPr>
          <p:cNvSpPr/>
          <p:nvPr/>
        </p:nvSpPr>
        <p:spPr>
          <a:xfrm>
            <a:off x="10847548" y="1876269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C174978-8346-D4E2-C29D-17453C38D34E}"/>
              </a:ext>
            </a:extLst>
          </p:cNvPr>
          <p:cNvSpPr/>
          <p:nvPr/>
        </p:nvSpPr>
        <p:spPr>
          <a:xfrm>
            <a:off x="10847548" y="2374885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EB618B4-266E-1D12-B12C-AE132AB5CB60}"/>
              </a:ext>
            </a:extLst>
          </p:cNvPr>
          <p:cNvSpPr/>
          <p:nvPr/>
        </p:nvSpPr>
        <p:spPr>
          <a:xfrm>
            <a:off x="10847548" y="2876594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557F4C6-0013-AD35-9C76-5C7C24606466}"/>
              </a:ext>
            </a:extLst>
          </p:cNvPr>
          <p:cNvSpPr/>
          <p:nvPr/>
        </p:nvSpPr>
        <p:spPr>
          <a:xfrm>
            <a:off x="10847548" y="3378303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6D79E5A-D6A0-AA1B-74DA-2E72047B0694}"/>
              </a:ext>
            </a:extLst>
          </p:cNvPr>
          <p:cNvSpPr/>
          <p:nvPr/>
        </p:nvSpPr>
        <p:spPr>
          <a:xfrm>
            <a:off x="10847548" y="3878304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DA8ED860-2DC8-5831-B4A2-3A9E15FF1D63}"/>
              </a:ext>
            </a:extLst>
          </p:cNvPr>
          <p:cNvSpPr/>
          <p:nvPr/>
        </p:nvSpPr>
        <p:spPr>
          <a:xfrm>
            <a:off x="10844565" y="4414391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A92595B6-0A3D-0C4B-80E4-39D357D8941D}"/>
              </a:ext>
            </a:extLst>
          </p:cNvPr>
          <p:cNvSpPr/>
          <p:nvPr/>
        </p:nvSpPr>
        <p:spPr>
          <a:xfrm>
            <a:off x="10847548" y="4900795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/>
            </a:r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EAE4F28C-D709-E721-3444-E065871BEBC6}"/>
              </a:ext>
            </a:extLst>
          </p:cNvPr>
          <p:cNvSpPr/>
          <p:nvPr/>
        </p:nvSpPr>
        <p:spPr>
          <a:xfrm rot="5400000">
            <a:off x="7110670" y="1915415"/>
            <a:ext cx="457200" cy="18288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6912C85A-1150-0062-1ABD-DBFB49602E04}"/>
              </a:ext>
            </a:extLst>
          </p:cNvPr>
          <p:cNvSpPr/>
          <p:nvPr/>
        </p:nvSpPr>
        <p:spPr>
          <a:xfrm rot="5400000">
            <a:off x="7110670" y="2922314"/>
            <a:ext cx="457200" cy="18288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C4B71D39-03A4-0A43-72EF-399C4B7088E0}"/>
              </a:ext>
            </a:extLst>
          </p:cNvPr>
          <p:cNvSpPr/>
          <p:nvPr/>
        </p:nvSpPr>
        <p:spPr>
          <a:xfrm rot="5400000">
            <a:off x="7110670" y="3424023"/>
            <a:ext cx="457200" cy="18288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D2C0934D-D42C-041E-D1F8-90DF218874A5}"/>
              </a:ext>
            </a:extLst>
          </p:cNvPr>
          <p:cNvSpPr/>
          <p:nvPr/>
        </p:nvSpPr>
        <p:spPr>
          <a:xfrm rot="5400000">
            <a:off x="7110670" y="3939373"/>
            <a:ext cx="457200" cy="18288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6880845A-7DA1-0BFB-49BD-D41CE2FA8767}"/>
              </a:ext>
            </a:extLst>
          </p:cNvPr>
          <p:cNvSpPr/>
          <p:nvPr/>
        </p:nvSpPr>
        <p:spPr>
          <a:xfrm rot="5400000">
            <a:off x="7120290" y="4946515"/>
            <a:ext cx="457200" cy="182880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MY" sz="1200">
              <a:solidFill>
                <a:schemeClr val="tx1"/>
              </a:solidFill>
            </a:endParaRPr>
          </a:p>
        </p:txBody>
      </p:sp>
      <p:grpSp>
        <p:nvGrpSpPr>
          <p:cNvPr id="3" name="グループ化 64">
            <a:extLst>
              <a:ext uri="{FF2B5EF4-FFF2-40B4-BE49-F238E27FC236}">
                <a16:creationId xmlns:a16="http://schemas.microsoft.com/office/drawing/2014/main" id="{1A20458E-0C52-88BB-2EA9-4DBD88B7520A}"/>
              </a:ext>
            </a:extLst>
          </p:cNvPr>
          <p:cNvGrpSpPr/>
          <p:nvPr/>
        </p:nvGrpSpPr>
        <p:grpSpPr>
          <a:xfrm>
            <a:off x="10764214" y="1241829"/>
            <a:ext cx="1094916" cy="407556"/>
            <a:chOff x="455612" y="1382529"/>
            <a:chExt cx="4113213" cy="655821"/>
          </a:xfrm>
          <a:noFill/>
        </p:grpSpPr>
        <p:sp>
          <p:nvSpPr>
            <p:cNvPr id="4" name="ColumnHeader">
              <a:extLst>
                <a:ext uri="{FF2B5EF4-FFF2-40B4-BE49-F238E27FC236}">
                  <a16:creationId xmlns:a16="http://schemas.microsoft.com/office/drawing/2014/main" id="{734D4318-4AAB-4244-3714-C76BEB0BEB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3" y="1382529"/>
              <a:ext cx="4113212" cy="643839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0" tIns="91440" rIns="0" bIns="91440" anchor="b">
              <a:spAutoFit/>
            </a:bodyPr>
            <a:lstStyle/>
            <a:p>
              <a:pPr algn="ctr"/>
              <a:r>
                <a:rPr lang="en-US" sz="140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</a:p>
          </p:txBody>
        </p:sp>
        <p:cxnSp>
          <p:nvCxnSpPr>
            <p:cNvPr id="5" name="直線コネクタ 66">
              <a:extLst>
                <a:ext uri="{FF2B5EF4-FFF2-40B4-BE49-F238E27FC236}">
                  <a16:creationId xmlns:a16="http://schemas.microsoft.com/office/drawing/2014/main" id="{999FD5B0-5ABB-9BFD-37FC-C98C2396DF60}"/>
                </a:ext>
              </a:extLst>
            </p:cNvPr>
            <p:cNvCxnSpPr/>
            <p:nvPr/>
          </p:nvCxnSpPr>
          <p:spPr>
            <a:xfrm>
              <a:off x="455612" y="2038350"/>
              <a:ext cx="4113212" cy="0"/>
            </a:xfrm>
            <a:prstGeom prst="line">
              <a:avLst/>
            </a:prstGeom>
            <a:grpFill/>
            <a:ln w="222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77A17F51-C1D6-48F3-129F-09996F638E04}"/>
              </a:ext>
            </a:extLst>
          </p:cNvPr>
          <p:cNvSpPr/>
          <p:nvPr/>
        </p:nvSpPr>
        <p:spPr>
          <a:xfrm>
            <a:off x="10847548" y="5406836"/>
            <a:ext cx="1005840" cy="274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/>
            </a:r>
            <a:r>
              <a:rPr kumimoji="1" lang="en-US" sz="1400">
                <a:solidFill>
                  <a:schemeClr val="tx1"/>
                </a:solidFill>
              </a:rPr>
              <a:t/>
            </a:r>
            <a:endParaRPr kumimoji="1" lang="en-MY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186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73962-D81D-8E0E-2256-7C3F1E0F0F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DB73235-DB45-D72B-B3CC-19C66D57E9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534989"/>
              </p:ext>
            </p:extLst>
          </p:nvPr>
        </p:nvGraphicFramePr>
        <p:xfrm>
          <a:off x="334963" y="1341437"/>
          <a:ext cx="11508813" cy="4744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2877">
                  <a:extLst>
                    <a:ext uri="{9D8B030D-6E8A-4147-A177-3AD203B41FA5}">
                      <a16:colId xmlns:a16="http://schemas.microsoft.com/office/drawing/2014/main" val="1174241159"/>
                    </a:ext>
                  </a:extLst>
                </a:gridCol>
                <a:gridCol w="10075936">
                  <a:extLst>
                    <a:ext uri="{9D8B030D-6E8A-4147-A177-3AD203B41FA5}">
                      <a16:colId xmlns:a16="http://schemas.microsoft.com/office/drawing/2014/main" val="235065073"/>
                    </a:ext>
                  </a:extLst>
                </a:gridCol>
              </a:tblGrid>
              <a:tr h="457268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MY" sz="1400" b="0">
                          <a:solidFill>
                            <a:schemeClr val="bg1"/>
                          </a:solidFill>
                          <a:latin typeface="+mj-lt"/>
                        </a:rPr>
                        <a:t>Vietnam - Foreign Investment Rules</a:t>
                      </a:r>
                      <a:endParaRPr lang="en-GB" sz="1400" b="0" i="0" u="none" strike="noStrike" kern="1200" noProof="0">
                        <a:solidFill>
                          <a:schemeClr val="bg1"/>
                        </a:solidFill>
                        <a:effectLst/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Rules are investable with correct structure, but partner quality and sequencing determine execution speed.</a:t>
                      </a:r>
                      <a:endParaRPr kumimoji="1" lang="en-MY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9955147"/>
                  </a:ext>
                </a:extLst>
              </a:tr>
              <a:tr h="457268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GB" sz="14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" panose="020B0502040204020203" pitchFamily="34" charset="0"/>
                        </a:rPr>
                        <a:t>Source: YCP Analysis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None/>
                        <a:tabLst/>
                        <a:defRPr/>
                      </a:pPr>
                      <a:r>
                        <a:rPr kumimoji="1" lang="en-US" sz="1400" b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tegory</a:t>
                      </a:r>
                      <a:endParaRPr kumimoji="1" lang="en-MY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994732"/>
                  </a:ext>
                </a:extLst>
              </a:tr>
              <a:tr h="1503454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GB" sz="14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" panose="020B0502040204020203" pitchFamily="34" charset="0"/>
                        </a:rPr>
                        <a:t>Limit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>Details</a:t>
                      </a:r>
                      <a:r>
                        <a:rPr kumimoji="1" lang="en-GB" sz="14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General Sectors</a:t>
                      </a:r>
                      <a:r>
                        <a:rPr lang="en-US" sz="1400"/>
                        <a:t>49% baseline cap in sensitive energy assets</a:t>
                      </a:r>
                      <a:r>
                        <a:rPr lang="en-US" sz="1400" b="1"/>
                        <a:t>JV and project-structure exceptions available depending on asset and zone</a:t>
                      </a:r>
                      <a:r>
                        <a:rPr lang="en-US" sz="1400"/>
                        <a:t>Promoted Investment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MY" sz="1400"/>
                        <a:t>Incentivized clean energy projects can receive better treatment</a:t>
                      </a:r>
                      <a:r>
                        <a:rPr lang="en-US" sz="1400"/>
                        <a:t>Incentive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>Benefit</a:t>
                      </a:r>
                      <a:r>
                        <a:rPr lang="en-US" sz="1400"/>
                        <a:t>Eligibility</a:t>
                      </a:r>
                      <a:endParaRPr kumimoji="1" lang="en-GB" sz="1400" b="0" i="0" u="none" strike="noStrike" kern="1200" noProof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>CIT incentive package</a:t>
                      </a:r>
                      <a:r>
                        <a:rPr lang="en-US" sz="1400"/>
                        <a:t>4 years tax exemption plus reduced rates in follow-on years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>Qualified clean-energy and efficiency projects</a:t>
                      </a:r>
                      <a:r>
                        <a:rPr lang="en-US" sz="1400"/>
                        <a:t>Import duty exemp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0814637"/>
                  </a:ext>
                </a:extLst>
              </a:tr>
              <a:tr h="1503454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GB" sz="14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" panose="020B0502040204020203" pitchFamily="34" charset="0"/>
                        </a:rPr>
                        <a:t>Duty relief for approved equipment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/>
                        <a:t>Projects aligned to national clean-energy priorities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/>
                        <a:t>Land-use incentive</a:t>
                      </a:r>
                      <a:r>
                        <a:rPr lang="en-MY" sz="1400"/>
                        <a:t>Reduced land rent in strategic industrial zones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>Projects in designated locations and sectors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/>
                        <a:t>Regulatory Risk: MEDIUM</a:t>
                      </a:r>
                    </a:p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/>
                        <a:t/>
                      </a:r>
                      <a:endParaRPr lang="en-US" sz="1400" b="0"/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8785264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GB" sz="14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" panose="020B0502040204020203" pitchFamily="34" charset="0"/>
                        </a:rPr>
                        <a:t/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19456" marR="0" lvl="0" indent="-21945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/>
                        <a:buChar char="n"/>
                        <a:tabLst/>
                        <a:defRPr/>
                      </a:pPr>
                      <a:r>
                        <a:rPr lang="en-US" sz="1400" b="0"/>
                        <a:t/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713924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5838E046-5A18-96DC-735C-DF585FA68570}"/>
              </a:ext>
            </a:extLst>
          </p:cNvPr>
          <p:cNvSpPr txBox="1">
            <a:spLocks/>
          </p:cNvSpPr>
          <p:nvPr/>
        </p:nvSpPr>
        <p:spPr bwMode="auto">
          <a:xfrm>
            <a:off x="341594" y="262858"/>
            <a:ext cx="11508811" cy="6318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/>
              <a:t/>
            </a:r>
            <a:br>
              <a:rPr lang="en-US" sz="2000"/>
            </a:br>
            <a:r>
              <a:rPr lang="en-US" sz="1600"/>
              <a:t/>
            </a:r>
            <a:endParaRPr lang="en-US" sz="1600">
              <a:latin typeface="Segoe UI"/>
              <a:cs typeface="Segoe U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16A20B-7890-1E78-3D6D-D6EA8CC30681}"/>
              </a:ext>
            </a:extLst>
          </p:cNvPr>
          <p:cNvSpPr txBox="1"/>
          <p:nvPr/>
        </p:nvSpPr>
        <p:spPr>
          <a:xfrm>
            <a:off x="333640" y="6099017"/>
            <a:ext cx="115167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ea typeface="Meiryo UI"/>
                <a:cs typeface="Times New Roman" panose="02020603050405020304" pitchFamily="18" charset="0"/>
              </a:rPr>
              <a:t/>
            </a:r>
          </a:p>
        </p:txBody>
      </p:sp>
    </p:spTree>
    <p:extLst>
      <p:ext uri="{BB962C8B-B14F-4D97-AF65-F5344CB8AC3E}">
        <p14:creationId xmlns:p14="http://schemas.microsoft.com/office/powerpoint/2010/main" val="3958999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1FB59-CDF7-FB8B-2162-EDF5349E5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3B70303-C20B-BCEF-BC71-A4D3441FD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able of Contents</a:t>
            </a:r>
            <a:endParaRPr lang="en-US">
              <a:latin typeface="+mj-lt"/>
              <a:ea typeface="Yu Gothic" panose="020B0400000000000000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5BAB898-7A07-8FEC-B642-36F2D14E59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85266"/>
              </p:ext>
            </p:extLst>
          </p:nvPr>
        </p:nvGraphicFramePr>
        <p:xfrm>
          <a:off x="343673" y="1371600"/>
          <a:ext cx="11508811" cy="270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08811">
                  <a:extLst>
                    <a:ext uri="{9D8B030D-6E8A-4147-A177-3AD203B41FA5}">
                      <a16:colId xmlns:a16="http://schemas.microsoft.com/office/drawing/2014/main" val="74231368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>Market Overview</a:t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19501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60848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17303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44608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/>
                      </a:r>
                      <a:endParaRPr kumimoji="1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Yu Gothic" panose="020B0400000000000000" pitchFamily="34" charset="-128"/>
                        <a:cs typeface="+mn-cs"/>
                      </a:endParaRP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424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Yu Gothic" panose="020B0400000000000000" pitchFamily="34" charset="-128"/>
                          <a:cs typeface="+mn-cs"/>
                        </a:rPr>
                        <a:t/>
                      </a:r>
                    </a:p>
                  </a:txBody>
                  <a:tcPr marL="92354" marR="92354" marT="46177" marB="4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896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180508"/>
      </p:ext>
    </p:extLst>
  </p:cSld>
  <p:clrMapOvr>
    <a:masterClrMapping/>
  </p:clrMapOvr>
</p:sld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PGHtkdOxwofbKQywhA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6eniRbIFA4F23165x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2wY_AxgD1hI49qbKpv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t38w4an2o77B391Lxy1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c9_jZS6VtOhWsUqmvE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V1pTYULUSFqdPFKwUf9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BePjmUDV0tH2gs1AYu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f5N5jCqBYjJXlYxWb_3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Tuq8_l_F6WI1IgOqh3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cqWAR86VnE_yWgHkf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k5M3qQ0SFzOdDNcYMX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VZuQu8HVCv9bDHYhm1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AhKE.ywOn38NV6ssw0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dpGlBZo7t.xpqVXG5k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zjrCPWse8ukhu5YJX5V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7EjRYgyUTk87FTHuSHQ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W1cKQScGSA_pOYFjmLr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3W_lKq5ISd5_r2kNAg5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ViyFOcz1YZXEgxZcsHL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todYbVuhNXgbpcUtZu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MFDcNH_lPSYQT9m1tY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rAcPFfNb6bufk8GhP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ZD_8WeOTiX2dCjZMrF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etYyCIgXcRkWi1jGy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P.0dHeE3mAhSfJIyCb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Cj3.Uo0RjFXOv6pih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euwn04KGCc8mDQsebE1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Lhfri8t.kG0CgVwWrx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.Nq2ekyTFZMQf5qw7d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8hHSzw9qspyYSn2wfOW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msdhikK370UkusF3b9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k5M3qQ0SFzOdDNcYMX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xMQWu_EgdxznpXwyyqH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EvKMJFoHUuFqr9MzuDa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BxKfmIvnIjT40bd8E77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TJEV33mi0UM2e4cAbmb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sZjmXq6ZvIhvZBY2ZqA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85pJwFcN1gCLC5J4i6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CvisRcM9c46alSlVV75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mB6OlaLvbFPhR2t1Ida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6R2crQc1JgTuGxZq2z1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rtsP8cd1heQq71i7lZ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rzfB8Bqk5aMQh2_YG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8n36PSLtlbRHq45WrT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3hm.PpSPSeJ5W1z_rV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2FJNFEUzUY4MHp3ibSQ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Anj3V2QNHHmKCElhj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Ebiut5oaKojuQZcjPN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2twtAi4JEowxfduTWM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LLQGEMN4cRgexNDrj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6brAOGse9bIBuWUK9W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3ZGeTUA36EOohhcsdjT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kx3ajID6xof95zfy4c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lVwAYjgm.4vZfH_PM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TdkIQ1oJz8rZWifzWp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JoaMRG0SxvjNctUK.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hEe7U7Au882uImxCLG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v82o7lk9f285z4n8M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M.zbOPywyOTzHcdYMj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ZOpTkJTp3cVp0G0GA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4hBo9h2U4mJMZ8h_2M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gmkOCvJdLgBaY7dA6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nSprB7USDIFtfZvNZ1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LHGCkoWTeptaH9KI1k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Qi7tmCVVBXkZbxF2np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Q13mVB3IM9FZY_g4vq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iqxWSK4uszY6_NyLrt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GJEmUrhDk5ASWwebVa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A85Lav19Wr8fviP_B3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qcd4q7XPcVfIKIjL5C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BTFqZnIvqP3S6TDz9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P965A.nh9PUYDmLQMQ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BD.r.rCrpC3Wm6iMdM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LtPB4YjdLeum2W.X9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p7ynjvehAmCoUw7oq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GfHbg2JFFQPiby.dfu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Tt6mDiAA6ZHHNHCuu2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Ko8H_CVUkl9AfjMDx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XavbfDhRvp4h4sfet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HOv5nDgmMhdlAsdmz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xtqdoJdqTcaunORKO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W_LDQh2bntVc0Zt63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4nFZKeeq4d9Khj.kp_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6OMAXC9XIKCZsPV2sw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aWqvXIZOJZJwg3ier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eChXGBt09rXJYltUVr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2Nrh9uayCH7bFERIIp_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wU81SQN9vcn9sU55_1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L24MoR23wh1xNL3B_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JIwWno4rPITJ.DcHcT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6C8sdt7bl9VN2Psy0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y2tbDrozzfojjKqD9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m28tbdOD3W1CN_PxkX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QnqWPgMLNzjCVETVQZ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6zXKTaEocINgbiw5dO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xEJLwejqibk0uHFn0U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k5M3qQ0SFzOdDNcYM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bIsF_wxYDA3L0DPPgx1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m2uXwst6WT3KYGUszD6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mmwEU.WK_BICBpUc2d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p938aBuNSIEgZputFb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ILAQvMobo0EaDgMfd2.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6xMZ.cUmKCgT_E2KRp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YYAR9_GxWjxhi9JA.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7M6jKA5iwkfaUx9cf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PWJYy59DzsWVpXekt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Da2SSDA0Gy8fxzXkp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ds1dY.RpRIkMM1VbX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9uPzoiCOProabIDClL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a3FfR89kZivYfNBUy5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b0HV9UQsfu0.fqZdyx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zqCdpSPs6JtlwwwV8P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7QWPM50HhiGi31sE4F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9NQwm2qEjzHN_0J3Q1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H1DsIGLOXLeZn35il9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V2co56ByzXIkyn8MMs1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Uswb6xWhJwwR5QqrE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.g9g3NvawiizbR6lGs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Zs0SPscTW3t79CfALg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8pQVX5xjEpXE5tQT4X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gUQH7p4utBBXOxtrW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rOYcoYk0y.yLHMK7pTq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lPaGtisX_oN9jiiBc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VEqcxCV0IU.pgu07kL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xsQsK0BDzzOyTU.pfA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odnkAnhBsWRskBY7b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k5M3qQ0SFzOdDNcYM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t1QYmhso03HRSlpBZp_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VwanhD6nA_i.FPR5MN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6.vig9SvuZGqms7O5k8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2.XLDrDalVQtJmnMLH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_OIvzXNxoREYVbxr6r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WpYReHLWKKKXZoG7uh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A9nvQ6Yd7R7bE0UcDr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bpFYIc5J0b5ry15AXc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khDGInYSQU3whTalCkR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E2cRejUhkuOoKdgXvbDA"/>
</p:tagLst>
</file>

<file path=ppt/theme/theme1.xml><?xml version="1.0" encoding="utf-8"?>
<a:theme xmlns:a="http://schemas.openxmlformats.org/drawingml/2006/main" name="1_blank">
  <a:themeElements>
    <a:clrScheme name="Latest YCP">
      <a:dk1>
        <a:sysClr val="windowText" lastClr="000000"/>
      </a:dk1>
      <a:lt1>
        <a:sysClr val="window" lastClr="FFFFFF"/>
      </a:lt1>
      <a:dk2>
        <a:srgbClr val="1F497D"/>
      </a:dk2>
      <a:lt2>
        <a:srgbClr val="1F497D"/>
      </a:lt2>
      <a:accent1>
        <a:srgbClr val="007FFF"/>
      </a:accent1>
      <a:accent2>
        <a:srgbClr val="EDFDFF"/>
      </a:accent2>
      <a:accent3>
        <a:srgbClr val="011AB7"/>
      </a:accent3>
      <a:accent4>
        <a:srgbClr val="1524A9"/>
      </a:accent4>
      <a:accent5>
        <a:srgbClr val="001C44"/>
      </a:accent5>
      <a:accent6>
        <a:srgbClr val="E46C0A"/>
      </a:accent6>
      <a:hlink>
        <a:srgbClr val="000000"/>
      </a:hlink>
      <a:folHlink>
        <a:srgbClr val="800080"/>
      </a:folHlink>
    </a:clrScheme>
    <a:fontScheme name="YCP">
      <a:majorFont>
        <a:latin typeface="Segoe UI"/>
        <a:ea typeface="Yu mincho"/>
        <a:cs typeface=""/>
      </a:majorFont>
      <a:minorFont>
        <a:latin typeface="Segoe UI"/>
        <a:ea typeface="Yu mincho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goe UI 16_9_New.potx" id="{51A49EC7-A4C4-4EE6-A5A2-C23D8A717E51}" vid="{7BB9DF44-BC85-480F-9DC3-DA4F28C33107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On-screen Show (16:9)</PresentationFormat>
  <Paragraphs>0</Paragraphs>
  <Slides>32</Slides>
  <Notes>3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5" baseType="lpstr">
      <vt:lpstr>Arial</vt:lpstr>
      <vt:lpstr>Calibri</vt:lpstr>
      <vt:lpstr>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etnam - Energy Services Market Analysis</dc:title>
  <dc:subject>market-entry</dc:subject>
  <dc:creator>YCP Market Research</dc:creator>
  <cp:lastModifiedBy>YCP Market Research</cp:lastModifiedBy>
  <cp:revision>1</cp:revision>
  <dcterms:created xsi:type="dcterms:W3CDTF">2026-02-18T14:49:22Z</dcterms:created>
  <dcterms:modified xsi:type="dcterms:W3CDTF">2026-02-18T14:49:22Z</dcterms:modified>
</cp:coreProperties>
</file>